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32"/>
  </p:notesMasterIdLst>
  <p:sldIdLst>
    <p:sldId id="347" r:id="rId2"/>
    <p:sldId id="309" r:id="rId3"/>
    <p:sldId id="350" r:id="rId4"/>
    <p:sldId id="307" r:id="rId5"/>
    <p:sldId id="362" r:id="rId6"/>
    <p:sldId id="314" r:id="rId7"/>
    <p:sldId id="357" r:id="rId8"/>
    <p:sldId id="338" r:id="rId9"/>
    <p:sldId id="310" r:id="rId10"/>
    <p:sldId id="311" r:id="rId11"/>
    <p:sldId id="312" r:id="rId12"/>
    <p:sldId id="339" r:id="rId13"/>
    <p:sldId id="342" r:id="rId14"/>
    <p:sldId id="349" r:id="rId15"/>
    <p:sldId id="336" r:id="rId16"/>
    <p:sldId id="333" r:id="rId17"/>
    <p:sldId id="353" r:id="rId18"/>
    <p:sldId id="356" r:id="rId19"/>
    <p:sldId id="354" r:id="rId20"/>
    <p:sldId id="335" r:id="rId21"/>
    <p:sldId id="337" r:id="rId22"/>
    <p:sldId id="341" r:id="rId23"/>
    <p:sldId id="343" r:id="rId24"/>
    <p:sldId id="344" r:id="rId25"/>
    <p:sldId id="345" r:id="rId26"/>
    <p:sldId id="366" r:id="rId27"/>
    <p:sldId id="364" r:id="rId28"/>
    <p:sldId id="365" r:id="rId29"/>
    <p:sldId id="367" r:id="rId30"/>
    <p:sldId id="361" r:id="rId31"/>
  </p:sldIdLst>
  <p:sldSz cx="12192000" cy="6858000"/>
  <p:notesSz cx="6858000" cy="9144000"/>
  <p:embeddedFontLst>
    <p:embeddedFont>
      <p:font typeface="Brush Script MT" panose="03060802040406070304" pitchFamily="66" charset="0"/>
      <p:italic r:id="rId33"/>
    </p:embeddedFont>
    <p:embeddedFont>
      <p:font typeface="Freestyle Script" panose="030804020302050B0404" pitchFamily="66" charset="0"/>
      <p:regular r:id="rId34"/>
    </p:embeddedFont>
    <p:embeddedFont>
      <p:font typeface="Soleil Lt" panose="00000400000000000000" charset="0"/>
      <p:regular r:id="rId35"/>
      <p:italic r:id="rId36"/>
    </p:embeddedFont>
    <p:embeddedFont>
      <p:font typeface="Soleil Sb" panose="00000600000000000000" charset="0"/>
      <p:regular r:id="rId37"/>
      <p:italic r:id="rId38"/>
    </p:embeddedFont>
  </p:embeddedFontLst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8E38E0C-55EC-49BE-A95A-EED9C18CD6EC}">
          <p14:sldIdLst>
            <p14:sldId id="347"/>
            <p14:sldId id="309"/>
            <p14:sldId id="350"/>
            <p14:sldId id="307"/>
            <p14:sldId id="362"/>
            <p14:sldId id="314"/>
            <p14:sldId id="357"/>
            <p14:sldId id="338"/>
            <p14:sldId id="310"/>
            <p14:sldId id="311"/>
            <p14:sldId id="312"/>
            <p14:sldId id="339"/>
            <p14:sldId id="342"/>
            <p14:sldId id="349"/>
            <p14:sldId id="336"/>
            <p14:sldId id="333"/>
            <p14:sldId id="353"/>
            <p14:sldId id="356"/>
            <p14:sldId id="354"/>
            <p14:sldId id="335"/>
            <p14:sldId id="337"/>
            <p14:sldId id="341"/>
            <p14:sldId id="343"/>
            <p14:sldId id="344"/>
            <p14:sldId id="345"/>
            <p14:sldId id="366"/>
            <p14:sldId id="364"/>
            <p14:sldId id="365"/>
            <p14:sldId id="367"/>
            <p14:sldId id="361"/>
          </p14:sldIdLst>
        </p14:section>
        <p14:section name="Icons" id="{9D4AF172-BACC-41F3-887F-969D48448266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191"/>
    <a:srgbClr val="F1F0EF"/>
    <a:srgbClr val="646E8C"/>
    <a:srgbClr val="E6E1E1"/>
    <a:srgbClr val="F5F0F0"/>
    <a:srgbClr val="FFFFFF"/>
    <a:srgbClr val="17244D"/>
    <a:srgbClr val="233778"/>
    <a:srgbClr val="D7D7DC"/>
    <a:srgbClr val="CDC8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72" autoAdjust="0"/>
  </p:normalViewPr>
  <p:slideViewPr>
    <p:cSldViewPr snapToGrid="0" showGuides="1">
      <p:cViewPr varScale="1">
        <p:scale>
          <a:sx n="115" d="100"/>
          <a:sy n="115" d="100"/>
        </p:scale>
        <p:origin x="68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font" Target="fonts/font2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3.fntdata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1.fntdata"/><Relationship Id="rId38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AT" dirty="0">
              <a:latin typeface="Soleil Lt" panose="00000400000000000000" pitchFamily="50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F912307-0C4A-4DFC-AAFF-D4CAEB585430}" type="datetimeFigureOut">
              <a:rPr lang="de-AT" smtClean="0">
                <a:latin typeface="Soleil Lt" panose="00000400000000000000" pitchFamily="50" charset="0"/>
              </a:rPr>
              <a:pPr/>
              <a:t>22.04.2026</a:t>
            </a:fld>
            <a:endParaRPr lang="de-AT" dirty="0">
              <a:latin typeface="Soleil Lt" panose="00000400000000000000" pitchFamily="50" charset="0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Soleil Lt" panose="00000400000000000000" pitchFamily="50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AT" dirty="0">
              <a:latin typeface="Soleil Lt" panose="00000400000000000000" pitchFamily="50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‹Nr.›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398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leil Lt" panose="000004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oleil Lt" panose="000004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oleil Lt" panose="000004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oleil Lt" panose="000004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oleil Lt" panose="000004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17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1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424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2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553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3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73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4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5780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5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912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7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343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6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707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7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172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FST</a:t>
            </a:r>
            <a:r>
              <a:rPr lang="de-AT" baseline="0" dirty="0"/>
              <a:t> VZ a</a:t>
            </a:r>
            <a:r>
              <a:rPr lang="de-AT" dirty="0"/>
              <a:t>b 50 Lebensjahr möglich</a:t>
            </a:r>
          </a:p>
          <a:p>
            <a:r>
              <a:rPr lang="de-AT" dirty="0"/>
              <a:t>PVB ab</a:t>
            </a:r>
            <a:r>
              <a:rPr lang="de-AT" baseline="0" dirty="0"/>
              <a:t> 55 Lebensjahr möglich</a:t>
            </a:r>
            <a:r>
              <a:rPr lang="de-AT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11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844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Wird der Zugang in Zukunft erschwer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13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5901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17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4426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Berufsschutz,</a:t>
            </a:r>
            <a:r>
              <a:rPr lang="de-AT" baseline="0" dirty="0"/>
              <a:t> Tätigkeitsschutz usw. erklär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18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616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19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6543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0F3EB-7332-4F13-8D4C-15325A28C604}" type="slidenum">
              <a:rPr lang="de-AT" smtClean="0">
                <a:latin typeface="Soleil Lt" panose="00000400000000000000" pitchFamily="50" charset="0"/>
              </a:rPr>
              <a:pPr/>
              <a:t>20</a:t>
            </a:fld>
            <a:endParaRPr lang="de-AT" dirty="0">
              <a:latin typeface="Soleil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980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sv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E8A05ED-183A-333A-A276-2BFBDAB2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18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E8A05ED-183A-333A-A276-2BFBDAB2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D6D41FB7-C0A7-1BE7-5400-98A82412C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50524" y="4785186"/>
            <a:ext cx="3890615" cy="553998"/>
          </a:xfrm>
        </p:spPr>
        <p:txBody>
          <a:bodyPr/>
          <a:lstStyle>
            <a:lvl1pPr marL="0" indent="0" algn="l" rtl="0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Präsentationsuntertitel</a:t>
            </a:r>
            <a:br>
              <a:rPr lang="de-AT" dirty="0"/>
            </a:br>
            <a:r>
              <a:rPr lang="de-AT" dirty="0"/>
              <a:t>gerne auch mehrzeilig, </a:t>
            </a:r>
            <a:r>
              <a:rPr lang="de-AT" dirty="0" err="1"/>
              <a:t>lorem</a:t>
            </a:r>
            <a:r>
              <a:rPr lang="de-AT" dirty="0"/>
              <a:t> </a:t>
            </a:r>
            <a:r>
              <a:rPr lang="de-AT" dirty="0" err="1"/>
              <a:t>ipsum</a:t>
            </a:r>
            <a:endParaRPr lang="de-AT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FEACE89-75D4-BBDB-1D00-F18282311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00580" y="6237266"/>
            <a:ext cx="4340559" cy="184666"/>
          </a:xfrm>
        </p:spPr>
        <p:txBody>
          <a:bodyPr anchor="b"/>
          <a:lstStyle>
            <a:lvl1pPr rtl="0"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/>
              <a:t>Ort, TT. Monat YYYY</a:t>
            </a:r>
            <a:endParaRPr lang="de-AT" dirty="0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78433B3A-A32C-6DD7-CA8D-1AE5A4A8FF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809608" cy="6858000"/>
          </a:xfrm>
          <a:custGeom>
            <a:avLst/>
            <a:gdLst>
              <a:gd name="connsiteX0" fmla="*/ 0 w 7809608"/>
              <a:gd name="connsiteY0" fmla="*/ 0 h 6858000"/>
              <a:gd name="connsiteX1" fmla="*/ 5626467 w 7809608"/>
              <a:gd name="connsiteY1" fmla="*/ 0 h 6858000"/>
              <a:gd name="connsiteX2" fmla="*/ 5626467 w 7809608"/>
              <a:gd name="connsiteY2" fmla="*/ 1 h 6858000"/>
              <a:gd name="connsiteX3" fmla="*/ 7072476 w 7809608"/>
              <a:gd name="connsiteY3" fmla="*/ 1 h 6858000"/>
              <a:gd name="connsiteX4" fmla="*/ 7093049 w 7809608"/>
              <a:gd name="connsiteY4" fmla="*/ 40585 h 6858000"/>
              <a:gd name="connsiteX5" fmla="*/ 7809608 w 7809608"/>
              <a:gd name="connsiteY5" fmla="*/ 3223531 h 6858000"/>
              <a:gd name="connsiteX6" fmla="*/ 6932577 w 7809608"/>
              <a:gd name="connsiteY6" fmla="*/ 6723037 h 6858000"/>
              <a:gd name="connsiteX7" fmla="*/ 6855769 w 7809608"/>
              <a:gd name="connsiteY7" fmla="*/ 6858000 h 6858000"/>
              <a:gd name="connsiteX8" fmla="*/ 5626467 w 7809608"/>
              <a:gd name="connsiteY8" fmla="*/ 6858000 h 6858000"/>
              <a:gd name="connsiteX9" fmla="*/ 0 w 7809608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09608" h="6858000">
                <a:moveTo>
                  <a:pt x="0" y="0"/>
                </a:moveTo>
                <a:lnTo>
                  <a:pt x="5626467" y="0"/>
                </a:lnTo>
                <a:lnTo>
                  <a:pt x="5626467" y="1"/>
                </a:lnTo>
                <a:lnTo>
                  <a:pt x="7072476" y="1"/>
                </a:lnTo>
                <a:lnTo>
                  <a:pt x="7093049" y="40585"/>
                </a:lnTo>
                <a:cubicBezTo>
                  <a:pt x="7552264" y="1003474"/>
                  <a:pt x="7809608" y="2083139"/>
                  <a:pt x="7809608" y="3223531"/>
                </a:cubicBezTo>
                <a:cubicBezTo>
                  <a:pt x="7809608" y="4490633"/>
                  <a:pt x="7491899" y="5682763"/>
                  <a:pt x="6932577" y="6723037"/>
                </a:cubicBezTo>
                <a:lnTo>
                  <a:pt x="6855769" y="6858000"/>
                </a:lnTo>
                <a:lnTo>
                  <a:pt x="562646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8D7DE"/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0730D-3121-8A3A-DA2B-1559ECD6EF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2150" y="3429000"/>
            <a:ext cx="3753867" cy="565146"/>
          </a:xfrm>
          <a:solidFill>
            <a:schemeClr val="accent2"/>
          </a:solidFill>
        </p:spPr>
        <p:txBody>
          <a:bodyPr vert="horz" wrap="none" lIns="180000" tIns="36000" rIns="180000" bIns="36000" anchor="ctr"/>
          <a:lstStyle>
            <a:lvl1pPr algn="l" rtl="0">
              <a:lnSpc>
                <a:spcPct val="100000"/>
              </a:lnSpc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r>
              <a:rPr lang="de-AT" dirty="0"/>
              <a:t>Präsentationstitel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874AB93-3515-924D-C304-3D42B6A803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56A1AFB-7EE0-7219-E8AB-5CA69E6C313D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DB9292AE-1378-BF39-069D-B88FAE4B94E6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B887F65-D15E-62F2-9693-44609824073A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2526C529-68EE-6934-74BE-D349219BBB41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solidFill>
              <a:srgbClr val="96AAD2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B6327412-8000-82EC-0835-C8794E184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71607" y="4046645"/>
            <a:ext cx="5041078" cy="565146"/>
          </a:xfrm>
          <a:solidFill>
            <a:schemeClr val="accent2"/>
          </a:solidFill>
        </p:spPr>
        <p:txBody>
          <a:bodyPr wrap="none" lIns="180000" tIns="36000" rIns="180000" bIns="36000" anchor="ctr"/>
          <a:lstStyle>
            <a:lvl1pPr rtl="0"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 dirty="0"/>
              <a:t>Länge passt sich Text a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10A38B5-259E-C6AF-D03D-7F58DDC915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486002"/>
            <a:ext cx="5772150" cy="371998"/>
          </a:xfrm>
        </p:spPr>
        <p:txBody>
          <a:bodyPr wrap="square" lIns="108000" tIns="108000" rIns="108000" bIns="108000" anchor="ctr"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1794347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63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9447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15">
            <a:extLst>
              <a:ext uri="{FF2B5EF4-FFF2-40B4-BE49-F238E27FC236}">
                <a16:creationId xmlns:a16="http://schemas.microsoft.com/office/drawing/2014/main" id="{A7EA0084-7490-186E-380F-9BFDF2ABD3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1816099"/>
            <a:ext cx="6096000" cy="4600575"/>
          </a:xfrm>
          <a:solidFill>
            <a:schemeClr val="bg2"/>
          </a:solidFill>
        </p:spPr>
        <p:txBody>
          <a:bodyPr lIns="720000" rIns="540000" anchor="ctr">
            <a:noAutofit/>
          </a:bodyPr>
          <a:lstStyle>
            <a:lvl1pPr rtl="0">
              <a:defRPr sz="3200"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marL="0" indent="0">
              <a:buNone/>
              <a:defRPr/>
            </a:lvl3pPr>
            <a:lvl4pPr marL="271463" indent="-271463">
              <a:buClr>
                <a:schemeClr val="accent2"/>
              </a:buClr>
              <a:defRPr/>
            </a:lvl4pPr>
            <a:lvl5pPr marL="539750" indent="-269875">
              <a:buFont typeface="Soleil Lt" panose="00000400000000000000" pitchFamily="50" charset="0"/>
              <a:buChar char="»"/>
              <a:defRPr/>
            </a:lvl5pPr>
            <a:lvl6pPr marL="811213" indent="-271463">
              <a:buClr>
                <a:schemeClr val="tx2"/>
              </a:buClr>
              <a:buFont typeface="Soleil Lt" panose="00000400000000000000" pitchFamily="50" charset="0"/>
              <a:buChar char="»"/>
              <a:defRPr sz="1600"/>
            </a:lvl6pPr>
          </a:lstStyle>
          <a:p>
            <a:pPr lvl="0"/>
            <a:r>
              <a:rPr lang="de-AT" dirty="0"/>
              <a:t>Zitat</a:t>
            </a:r>
          </a:p>
          <a:p>
            <a:pPr lvl="1"/>
            <a:r>
              <a:rPr lang="de-AT" dirty="0"/>
              <a:t>Zitatgeber</a:t>
            </a:r>
          </a:p>
          <a:p>
            <a:pPr lvl="2"/>
            <a:r>
              <a:rPr lang="de-AT" dirty="0"/>
              <a:t>Text</a:t>
            </a:r>
          </a:p>
          <a:p>
            <a:pPr lvl="3"/>
            <a:r>
              <a:rPr lang="de-AT" dirty="0"/>
              <a:t>Text</a:t>
            </a:r>
          </a:p>
          <a:p>
            <a:pPr lvl="4"/>
            <a:r>
              <a:rPr lang="de-AT" dirty="0"/>
              <a:t>Text</a:t>
            </a:r>
          </a:p>
          <a:p>
            <a:pPr lvl="5"/>
            <a:r>
              <a:rPr lang="de-AT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5184775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12775003-A738-611F-C326-3D57A38C65A1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850063" y="258011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algn="ctr"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5C204351-E13A-BE8D-D8F4-0CF9BBF7A475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142163" y="258011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algn="ctr"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26151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, Inhalt &amp;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839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55ED438-376F-26F8-7137-4AD4303CF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5184775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C3458F83-3522-B95F-517C-1BF496FD3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1816099"/>
            <a:ext cx="6096000" cy="4600575"/>
          </a:xfrm>
          <a:solidFill>
            <a:schemeClr val="bg2"/>
          </a:solidFill>
        </p:spPr>
        <p:txBody>
          <a:bodyPr lIns="720000" rIns="540000" anchor="ctr">
            <a:noAutofit/>
          </a:bodyPr>
          <a:lstStyle>
            <a:lvl1pPr rtl="0">
              <a:defRPr sz="3200"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marL="0" indent="0">
              <a:buNone/>
              <a:defRPr/>
            </a:lvl3pPr>
            <a:lvl4pPr marL="271463" indent="-271463">
              <a:buClr>
                <a:schemeClr val="accent2"/>
              </a:buClr>
              <a:defRPr/>
            </a:lvl4pPr>
            <a:lvl5pPr marL="539750" indent="-269875">
              <a:buFont typeface="Soleil Lt" panose="00000400000000000000" pitchFamily="50" charset="0"/>
              <a:buChar char="»"/>
              <a:defRPr/>
            </a:lvl5pPr>
            <a:lvl6pPr marL="811213" indent="-271463">
              <a:buClr>
                <a:schemeClr val="tx2"/>
              </a:buClr>
              <a:buFont typeface="Soleil Lt" panose="00000400000000000000" pitchFamily="50" charset="0"/>
              <a:buChar char="»"/>
              <a:defRPr sz="1600"/>
            </a:lvl6pPr>
          </a:lstStyle>
          <a:p>
            <a:pPr lvl="0"/>
            <a:r>
              <a:rPr lang="de-AT" dirty="0"/>
              <a:t>Zitat</a:t>
            </a:r>
          </a:p>
          <a:p>
            <a:pPr lvl="1"/>
            <a:r>
              <a:rPr lang="de-AT" dirty="0"/>
              <a:t>Zitatgeber</a:t>
            </a:r>
          </a:p>
          <a:p>
            <a:pPr lvl="2"/>
            <a:r>
              <a:rPr lang="de-AT" dirty="0"/>
              <a:t>Text</a:t>
            </a:r>
          </a:p>
          <a:p>
            <a:pPr lvl="3"/>
            <a:r>
              <a:rPr lang="de-AT" dirty="0"/>
              <a:t>Text</a:t>
            </a:r>
          </a:p>
          <a:p>
            <a:pPr lvl="4"/>
            <a:r>
              <a:rPr lang="de-AT" dirty="0"/>
              <a:t>Text</a:t>
            </a:r>
          </a:p>
          <a:p>
            <a:pPr lvl="5"/>
            <a:r>
              <a:rPr lang="de-AT" dirty="0"/>
              <a:t>Text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29CF47B2-66DE-F002-1A11-0A46F7332AA4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850063" y="258011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algn="ctr"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452AF1BD-D2F1-DC6B-D40A-2F5FC1B33F8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142163" y="258011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algn="ctr"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1632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Zita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8146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5184775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3C157844-F771-34C5-9F7C-4C38514EAA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6364" y="1864519"/>
            <a:ext cx="3840429" cy="442035"/>
          </a:xfrm>
          <a:solidFill>
            <a:schemeClr val="accent2"/>
          </a:solidFill>
        </p:spPr>
        <p:txBody>
          <a:bodyPr wrap="none" lIns="180000" tIns="36000" rIns="180000" bIns="36000"/>
          <a:lstStyle>
            <a:lvl1pPr rtl="0">
              <a:defRPr sz="24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pPr lvl="0"/>
            <a:r>
              <a:rPr lang="de-AT" dirty="0"/>
              <a:t>Kernaussage mehrzeilig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2174258B-C3CD-92C5-68CF-96600A145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6364" y="2352208"/>
            <a:ext cx="2618941" cy="442035"/>
          </a:xfrm>
          <a:solidFill>
            <a:schemeClr val="accent2"/>
          </a:solidFill>
        </p:spPr>
        <p:txBody>
          <a:bodyPr wrap="none" lIns="180000" tIns="36000" rIns="180000" bIns="36000"/>
          <a:lstStyle>
            <a:lvl1pPr rtl="0">
              <a:defRPr sz="24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pPr lvl="0"/>
            <a:r>
              <a:rPr lang="de-AT"/>
              <a:t>Lorem ipsum at</a:t>
            </a:r>
            <a:endParaRPr lang="de-AT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1D64B279-D50A-06AA-3E7B-7A5FE8AAF9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6364" y="2839897"/>
            <a:ext cx="3918976" cy="442035"/>
          </a:xfrm>
          <a:solidFill>
            <a:schemeClr val="accent2"/>
          </a:solidFill>
        </p:spPr>
        <p:txBody>
          <a:bodyPr wrap="none" lIns="180000" tIns="36000" rIns="180000" bIns="36000"/>
          <a:lstStyle>
            <a:lvl1pPr rtl="0">
              <a:defRPr sz="24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pPr lvl="0"/>
            <a:r>
              <a:rPr lang="de-AT"/>
              <a:t>Lorem ipsum at vero eos</a:t>
            </a:r>
            <a:endParaRPr lang="de-AT" dirty="0"/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D6E5B3B8-4B54-D099-82F9-F05575C6F4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6364" y="3327586"/>
            <a:ext cx="5045888" cy="442035"/>
          </a:xfrm>
          <a:solidFill>
            <a:schemeClr val="accent2"/>
          </a:solidFill>
        </p:spPr>
        <p:txBody>
          <a:bodyPr wrap="none" lIns="180000" tIns="36000" rIns="180000" bIns="36000"/>
          <a:lstStyle>
            <a:lvl1pPr rtl="0">
              <a:defRPr sz="24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pPr lvl="0"/>
            <a:r>
              <a:rPr lang="de-AT"/>
              <a:t>Lorem ipsum at vero accusam et</a:t>
            </a:r>
            <a:endParaRPr lang="de-AT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297451B2-4036-A1F8-1D06-24A013E3F8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6364" y="3815276"/>
            <a:ext cx="2618941" cy="442035"/>
          </a:xfrm>
          <a:solidFill>
            <a:schemeClr val="accent2"/>
          </a:solidFill>
        </p:spPr>
        <p:txBody>
          <a:bodyPr wrap="none" lIns="180000" tIns="36000" rIns="180000" bIns="36000"/>
          <a:lstStyle>
            <a:lvl1pPr rtl="0">
              <a:defRPr sz="24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pPr lvl="0"/>
            <a:r>
              <a:rPr lang="de-AT"/>
              <a:t>Lorem ipsum a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6848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13">
          <p15:clr>
            <a:srgbClr val="FBAE40"/>
          </p15:clr>
        </p15:guide>
        <p15:guide id="3" pos="4067" userDrawn="1">
          <p15:clr>
            <a:srgbClr val="FBAE40"/>
          </p15:clr>
        </p15:guide>
        <p15:guide id="4" orient="horz" pos="117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Foto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2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8027CE67-076B-B209-D26F-8B884343FD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16100"/>
            <a:ext cx="5365750" cy="4600575"/>
          </a:xfrm>
          <a:solidFill>
            <a:srgbClr val="D8D7DE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E95F0B26-357A-D8EB-AE57-BF908BD319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9242828" y="4018361"/>
            <a:ext cx="4600573" cy="196054"/>
          </a:xfrm>
        </p:spPr>
        <p:txBody>
          <a:bodyPr wrap="square" lIns="108000" tIns="108000" rIns="108000" bIns="108000" anchor="ctr">
            <a:no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2391038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Foto 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2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5389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8027CE67-076B-B209-D26F-8B884343FD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3" y="1816100"/>
            <a:ext cx="5365750" cy="4600575"/>
          </a:xfrm>
          <a:solidFill>
            <a:srgbClr val="D8D7DE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A50713C4-CD0C-9796-2BE8-00380EEC89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3518302" y="4018362"/>
            <a:ext cx="4600573" cy="196052"/>
          </a:xfrm>
        </p:spPr>
        <p:txBody>
          <a:bodyPr wrap="square" lIns="108000" tIns="108000" rIns="108000" bIns="108000" anchor="ctr">
            <a:no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3102318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, Inhalt und Foto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2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55ED438-376F-26F8-7137-4AD4303CF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4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2112F5CE-13E2-8EEE-EA46-F55412BF977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816100"/>
            <a:ext cx="5365750" cy="4600575"/>
          </a:xfrm>
          <a:solidFill>
            <a:srgbClr val="D8D7DE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CB1189DE-A3D2-86AB-6122-DB2BB3DAB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9242828" y="4018361"/>
            <a:ext cx="4600573" cy="196054"/>
          </a:xfrm>
        </p:spPr>
        <p:txBody>
          <a:bodyPr wrap="square" lIns="108000" tIns="108000" rIns="108000" bIns="108000" anchor="ctr">
            <a:no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1351028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, Inhalt und Foto 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2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55ED438-376F-26F8-7137-4AD4303CF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5389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2112F5CE-13E2-8EEE-EA46-F55412BF977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0863" y="1816100"/>
            <a:ext cx="5365750" cy="4600575"/>
          </a:xfrm>
          <a:solidFill>
            <a:srgbClr val="D8D7DE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44224D6F-5AC9-DABE-2402-5CB6C6F4BC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3518302" y="4018362"/>
            <a:ext cx="4600573" cy="196053"/>
          </a:xfrm>
        </p:spPr>
        <p:txBody>
          <a:bodyPr wrap="square" lIns="108000" tIns="108000" rIns="108000" bIns="108000" anchor="ctr">
            <a:no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2776365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2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4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937688E-3E29-D692-A480-F7493CE92A65}"/>
              </a:ext>
            </a:extLst>
          </p:cNvPr>
          <p:cNvSpPr/>
          <p:nvPr userDrawn="1"/>
        </p:nvSpPr>
        <p:spPr>
          <a:xfrm>
            <a:off x="6275388" y="1816099"/>
            <a:ext cx="5916612" cy="4600575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accent2"/>
              </a:solidFill>
            </a:endParaRP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121B1DE2-134A-5035-3A55-055B7D89F5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65094" y="1887537"/>
            <a:ext cx="5176044" cy="516423"/>
          </a:xfrm>
        </p:spPr>
        <p:txBody>
          <a:bodyPr/>
          <a:lstStyle>
            <a:lvl1pPr rtl="0">
              <a:spcBef>
                <a:spcPts val="0"/>
              </a:spcBef>
              <a:defRPr sz="1600"/>
            </a:lvl1pPr>
            <a:lvl2pPr rtl="0">
              <a:lnSpc>
                <a:spcPct val="114000"/>
              </a:lnSpc>
              <a:spcBef>
                <a:spcPts val="0"/>
              </a:spcBef>
              <a:defRPr sz="1600"/>
            </a:lvl2pPr>
            <a:lvl3pPr rtl="0">
              <a:lnSpc>
                <a:spcPct val="114000"/>
              </a:lnSpc>
              <a:spcBef>
                <a:spcPts val="0"/>
              </a:spcBef>
              <a:defRPr sz="1600"/>
            </a:lvl3pPr>
            <a:lvl4pPr rtl="0">
              <a:lnSpc>
                <a:spcPct val="114000"/>
              </a:lnSpc>
              <a:spcBef>
                <a:spcPts val="0"/>
              </a:spcBef>
              <a:defRPr sz="1600"/>
            </a:lvl4pPr>
            <a:lvl5pPr rtl="0">
              <a:lnSpc>
                <a:spcPct val="114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de-AT" dirty="0"/>
              <a:t>Diagrammtitel</a:t>
            </a:r>
          </a:p>
          <a:p>
            <a:pPr lvl="1"/>
            <a:r>
              <a:rPr lang="de-AT" dirty="0"/>
              <a:t>Einheit</a:t>
            </a:r>
          </a:p>
        </p:txBody>
      </p:sp>
      <p:sp>
        <p:nvSpPr>
          <p:cNvPr id="11" name="Diagrammplatzhalter 10">
            <a:extLst>
              <a:ext uri="{FF2B5EF4-FFF2-40B4-BE49-F238E27FC236}">
                <a16:creationId xmlns:a16="http://schemas.microsoft.com/office/drawing/2014/main" id="{6C1F5D66-E81F-9199-F726-E63587133350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465093" y="2571749"/>
            <a:ext cx="5176044" cy="370522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7892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, Text und Diagram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2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55ED438-376F-26F8-7137-4AD4303CF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4" y="1816100"/>
            <a:ext cx="5365750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0AE36AD-E550-7A64-42AE-DA1967655FBD}"/>
              </a:ext>
            </a:extLst>
          </p:cNvPr>
          <p:cNvSpPr/>
          <p:nvPr userDrawn="1"/>
        </p:nvSpPr>
        <p:spPr>
          <a:xfrm>
            <a:off x="6275388" y="1816099"/>
            <a:ext cx="5916612" cy="4600575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accent2"/>
              </a:solidFill>
            </a:endParaRPr>
          </a:p>
        </p:txBody>
      </p:sp>
      <p:sp>
        <p:nvSpPr>
          <p:cNvPr id="4" name="Textplatzhalter 15">
            <a:extLst>
              <a:ext uri="{FF2B5EF4-FFF2-40B4-BE49-F238E27FC236}">
                <a16:creationId xmlns:a16="http://schemas.microsoft.com/office/drawing/2014/main" id="{BA1AF8DF-0B44-18AB-E246-907F52417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5094" y="1887537"/>
            <a:ext cx="5176044" cy="516423"/>
          </a:xfrm>
        </p:spPr>
        <p:txBody>
          <a:bodyPr/>
          <a:lstStyle>
            <a:lvl1pPr rtl="0">
              <a:spcBef>
                <a:spcPts val="0"/>
              </a:spcBef>
              <a:defRPr sz="1600"/>
            </a:lvl1pPr>
            <a:lvl2pPr rtl="0">
              <a:lnSpc>
                <a:spcPct val="114000"/>
              </a:lnSpc>
              <a:spcBef>
                <a:spcPts val="0"/>
              </a:spcBef>
              <a:defRPr sz="1600"/>
            </a:lvl2pPr>
            <a:lvl3pPr rtl="0">
              <a:lnSpc>
                <a:spcPct val="114000"/>
              </a:lnSpc>
              <a:spcBef>
                <a:spcPts val="0"/>
              </a:spcBef>
              <a:defRPr sz="1600"/>
            </a:lvl3pPr>
            <a:lvl4pPr rtl="0">
              <a:lnSpc>
                <a:spcPct val="114000"/>
              </a:lnSpc>
              <a:spcBef>
                <a:spcPts val="0"/>
              </a:spcBef>
              <a:defRPr sz="1600"/>
            </a:lvl4pPr>
            <a:lvl5pPr rtl="0">
              <a:lnSpc>
                <a:spcPct val="114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de-AT" dirty="0"/>
              <a:t>Diagrammtitel</a:t>
            </a:r>
          </a:p>
          <a:p>
            <a:pPr lvl="1"/>
            <a:r>
              <a:rPr lang="de-AT" dirty="0"/>
              <a:t>Einheit</a:t>
            </a:r>
          </a:p>
        </p:txBody>
      </p:sp>
      <p:sp>
        <p:nvSpPr>
          <p:cNvPr id="7" name="Diagrammplatzhalter 10">
            <a:extLst>
              <a:ext uri="{FF2B5EF4-FFF2-40B4-BE49-F238E27FC236}">
                <a16:creationId xmlns:a16="http://schemas.microsoft.com/office/drawing/2014/main" id="{D9FD9CF3-069C-35A1-D9B4-AF1292BEFD0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465093" y="2571749"/>
            <a:ext cx="5176044" cy="370522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5492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eite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2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940C80AB-ECAF-79EE-EB2F-39BE3BA2584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02342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EA32184F-1121-68C4-448D-745E75BD72F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886322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9" name="Bildplatzhalter 3">
            <a:extLst>
              <a:ext uri="{FF2B5EF4-FFF2-40B4-BE49-F238E27FC236}">
                <a16:creationId xmlns:a16="http://schemas.microsoft.com/office/drawing/2014/main" id="{D466B3EC-2F7D-FB68-E1E0-EA5C731F858B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74889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20" name="Bildplatzhalter 3">
            <a:extLst>
              <a:ext uri="{FF2B5EF4-FFF2-40B4-BE49-F238E27FC236}">
                <a16:creationId xmlns:a16="http://schemas.microsoft.com/office/drawing/2014/main" id="{05280AF1-4EB6-3B22-1558-125250D7FB58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61146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DD14B8-62E2-5711-20D7-1B01BB6657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46E228A7-CE04-8595-CCC5-196C1FC900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13766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08283ACB-1F7B-18CD-AB26-F10DACAD338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633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FEE7AF57-6E23-A1FC-5C97-5023F252E8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890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65369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57">
          <p15:clr>
            <a:srgbClr val="FBAE40"/>
          </p15:clr>
        </p15:guide>
        <p15:guide id="2" pos="5531">
          <p15:clr>
            <a:srgbClr val="FBAE40"/>
          </p15:clr>
        </p15:guide>
        <p15:guide id="3" pos="3953">
          <p15:clr>
            <a:srgbClr val="FBAE40"/>
          </p15:clr>
        </p15:guide>
        <p15:guide id="4" pos="3727">
          <p15:clr>
            <a:srgbClr val="FBAE40"/>
          </p15:clr>
        </p15:guide>
        <p15:guide id="5" pos="2150">
          <p15:clr>
            <a:srgbClr val="FBAE40"/>
          </p15:clr>
        </p15:guide>
        <p15:guide id="6" pos="192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E8A05ED-183A-333A-A276-2BFBDAB2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01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E8A05ED-183A-333A-A276-2BFBDAB2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78433B3A-A32C-6DD7-CA8D-1AE5A4A8FF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348416"/>
            <a:ext cx="12192000" cy="3776033"/>
          </a:xfrm>
          <a:prstGeom prst="rect">
            <a:avLst/>
          </a:prstGeom>
          <a:solidFill>
            <a:srgbClr val="D8D7DE"/>
          </a:solidFill>
        </p:spPr>
        <p:txBody>
          <a:bodyPr wrap="square">
            <a:noAutofit/>
          </a:bodyPr>
          <a:lstStyle>
            <a:lvl1pPr algn="l"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D41FB7-C0A7-1BE7-5400-98A82412C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5504382"/>
            <a:ext cx="5865388" cy="349702"/>
          </a:xfrm>
        </p:spPr>
        <p:txBody>
          <a:bodyPr wrap="none" tIns="36000" bIns="36000"/>
          <a:lstStyle>
            <a:lvl1pPr marL="533400" indent="0" algn="l" rtl="0"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Präsentationsuntertitel, Länge passt sich an Text a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FEACE89-75D4-BBDB-1D00-F18282311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456370"/>
            <a:ext cx="2305737" cy="288147"/>
          </a:xfrm>
          <a:solidFill>
            <a:schemeClr val="accent2">
              <a:alpha val="92000"/>
            </a:schemeClr>
          </a:solidFill>
        </p:spPr>
        <p:txBody>
          <a:bodyPr wrap="none" tIns="36000" rIns="180000" bIns="36000" anchor="b"/>
          <a:lstStyle>
            <a:lvl1pPr marL="533400" indent="0" rtl="0">
              <a:defRPr sz="1400">
                <a:solidFill>
                  <a:schemeClr val="bg1">
                    <a:alpha val="92000"/>
                  </a:schemeClr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 dirty="0"/>
              <a:t>Ort, TT. Monat YYY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0730D-3121-8A3A-DA2B-1559ECD6EF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811099"/>
            <a:ext cx="7779992" cy="626701"/>
          </a:xfrm>
          <a:solidFill>
            <a:schemeClr val="accent2"/>
          </a:solidFill>
        </p:spPr>
        <p:txBody>
          <a:bodyPr vert="horz" wrap="none" lIns="0" tIns="36000" rIns="180000" bIns="36000" anchor="ctr"/>
          <a:lstStyle>
            <a:lvl1pPr marL="533400" indent="0" algn="l" rtl="0">
              <a:lnSpc>
                <a:spcPct val="100000"/>
              </a:lnSpc>
              <a:defRPr sz="36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r>
              <a:rPr lang="de-AT" dirty="0"/>
              <a:t>Titel, Länge passt sich an Text an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A2909E-BAB6-8C53-B76A-23131E7F25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17986" y="3050435"/>
            <a:ext cx="3776036" cy="371998"/>
          </a:xfrm>
        </p:spPr>
        <p:txBody>
          <a:bodyPr wrap="none" lIns="108000" tIns="108000" rIns="108000" bIns="10800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254E0DE-52E6-EAA7-AEA2-341DC71EBFD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0863" y="294451"/>
            <a:ext cx="4434080" cy="805869"/>
            <a:chOff x="790346" y="4131636"/>
            <a:chExt cx="9884323" cy="1796420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F9EC150-1E28-082D-B8C1-41B1CC903F36}"/>
                </a:ext>
              </a:extLst>
            </p:cNvPr>
            <p:cNvSpPr/>
            <p:nvPr/>
          </p:nvSpPr>
          <p:spPr>
            <a:xfrm>
              <a:off x="2741757" y="4615889"/>
              <a:ext cx="713425" cy="1023339"/>
            </a:xfrm>
            <a:custGeom>
              <a:avLst/>
              <a:gdLst>
                <a:gd name="connsiteX0" fmla="*/ 0 w 713425"/>
                <a:gd name="connsiteY0" fmla="*/ 1023339 h 1023339"/>
                <a:gd name="connsiteX1" fmla="*/ 59779 w 713425"/>
                <a:gd name="connsiteY1" fmla="*/ 1007619 h 1023339"/>
                <a:gd name="connsiteX2" fmla="*/ 626724 w 713425"/>
                <a:gd name="connsiteY2" fmla="*/ 664816 h 1023339"/>
                <a:gd name="connsiteX3" fmla="*/ 581160 w 713425"/>
                <a:gd name="connsiteY3" fmla="*/ 116381 h 1023339"/>
                <a:gd name="connsiteX4" fmla="*/ 442311 w 713425"/>
                <a:gd name="connsiteY4" fmla="*/ 0 h 1023339"/>
                <a:gd name="connsiteX5" fmla="*/ 414516 w 713425"/>
                <a:gd name="connsiteY5" fmla="*/ 62754 h 1023339"/>
                <a:gd name="connsiteX6" fmla="*/ 38964 w 713425"/>
                <a:gd name="connsiteY6" fmla="*/ 931553 h 1023339"/>
                <a:gd name="connsiteX7" fmla="*/ 0 w 713425"/>
                <a:gd name="connsiteY7" fmla="*/ 1023339 h 1023339"/>
                <a:gd name="connsiteX8" fmla="*/ 0 w 713425"/>
                <a:gd name="connsiteY8" fmla="*/ 1023339 h 102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425" h="1023339">
                  <a:moveTo>
                    <a:pt x="0" y="1023339"/>
                  </a:moveTo>
                  <a:cubicBezTo>
                    <a:pt x="16246" y="1021438"/>
                    <a:pt x="45564" y="1011803"/>
                    <a:pt x="59779" y="1007619"/>
                  </a:cubicBezTo>
                  <a:cubicBezTo>
                    <a:pt x="263229" y="948161"/>
                    <a:pt x="504501" y="836090"/>
                    <a:pt x="626724" y="664816"/>
                  </a:cubicBezTo>
                  <a:cubicBezTo>
                    <a:pt x="759988" y="477820"/>
                    <a:pt x="735620" y="278781"/>
                    <a:pt x="581160" y="116381"/>
                  </a:cubicBezTo>
                  <a:cubicBezTo>
                    <a:pt x="545115" y="78601"/>
                    <a:pt x="488763" y="23707"/>
                    <a:pt x="442311" y="0"/>
                  </a:cubicBezTo>
                  <a:cubicBezTo>
                    <a:pt x="434569" y="12044"/>
                    <a:pt x="421242" y="46907"/>
                    <a:pt x="414516" y="62754"/>
                  </a:cubicBezTo>
                  <a:lnTo>
                    <a:pt x="38964" y="931553"/>
                  </a:lnTo>
                  <a:lnTo>
                    <a:pt x="0" y="1023339"/>
                  </a:lnTo>
                  <a:lnTo>
                    <a:pt x="0" y="1023339"/>
                  </a:lnTo>
                  <a:close/>
                </a:path>
              </a:pathLst>
            </a:custGeom>
            <a:solidFill>
              <a:srgbClr val="284191"/>
            </a:solidFill>
            <a:ln w="126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56482ED-2AED-ECF5-5C93-638D569BD2B0}"/>
                </a:ext>
              </a:extLst>
            </p:cNvPr>
            <p:cNvSpPr/>
            <p:nvPr/>
          </p:nvSpPr>
          <p:spPr>
            <a:xfrm>
              <a:off x="1648227" y="4857018"/>
              <a:ext cx="303763" cy="207532"/>
            </a:xfrm>
            <a:custGeom>
              <a:avLst/>
              <a:gdLst>
                <a:gd name="connsiteX0" fmla="*/ 0 w 303763"/>
                <a:gd name="connsiteY0" fmla="*/ 207406 h 207532"/>
                <a:gd name="connsiteX1" fmla="*/ 178955 w 303763"/>
                <a:gd name="connsiteY1" fmla="*/ 207406 h 207532"/>
                <a:gd name="connsiteX2" fmla="*/ 283917 w 303763"/>
                <a:gd name="connsiteY2" fmla="*/ 35624 h 207532"/>
                <a:gd name="connsiteX3" fmla="*/ 162963 w 303763"/>
                <a:gd name="connsiteY3" fmla="*/ 0 h 207532"/>
                <a:gd name="connsiteX4" fmla="*/ 0 w 303763"/>
                <a:gd name="connsiteY4" fmla="*/ 0 h 207532"/>
                <a:gd name="connsiteX5" fmla="*/ 0 w 303763"/>
                <a:gd name="connsiteY5" fmla="*/ 207533 h 207532"/>
                <a:gd name="connsiteX6" fmla="*/ 0 w 303763"/>
                <a:gd name="connsiteY6" fmla="*/ 207533 h 20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763" h="207532">
                  <a:moveTo>
                    <a:pt x="0" y="207406"/>
                  </a:moveTo>
                  <a:lnTo>
                    <a:pt x="178955" y="207406"/>
                  </a:lnTo>
                  <a:cubicBezTo>
                    <a:pt x="346614" y="207406"/>
                    <a:pt x="303589" y="60726"/>
                    <a:pt x="283917" y="35624"/>
                  </a:cubicBezTo>
                  <a:cubicBezTo>
                    <a:pt x="261071" y="6592"/>
                    <a:pt x="213731" y="0"/>
                    <a:pt x="162963" y="0"/>
                  </a:cubicBezTo>
                  <a:lnTo>
                    <a:pt x="0" y="0"/>
                  </a:lnTo>
                  <a:cubicBezTo>
                    <a:pt x="0" y="0"/>
                    <a:pt x="0" y="207533"/>
                    <a:pt x="0" y="207533"/>
                  </a:cubicBezTo>
                  <a:lnTo>
                    <a:pt x="0" y="207533"/>
                  </a:lnTo>
                  <a:close/>
                </a:path>
              </a:pathLst>
            </a:custGeom>
            <a:solidFill>
              <a:srgbClr val="284191"/>
            </a:solidFill>
            <a:ln w="126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CBDE3FAC-31EE-1378-C976-CFAB538B4435}"/>
                </a:ext>
              </a:extLst>
            </p:cNvPr>
            <p:cNvSpPr/>
            <p:nvPr/>
          </p:nvSpPr>
          <p:spPr>
            <a:xfrm>
              <a:off x="790346" y="4131636"/>
              <a:ext cx="2755313" cy="1670753"/>
            </a:xfrm>
            <a:custGeom>
              <a:avLst/>
              <a:gdLst>
                <a:gd name="connsiteX0" fmla="*/ 502129 w 2755313"/>
                <a:gd name="connsiteY0" fmla="*/ 1670753 h 1670753"/>
                <a:gd name="connsiteX1" fmla="*/ 445778 w 2755313"/>
                <a:gd name="connsiteY1" fmla="*/ 1614591 h 1670753"/>
                <a:gd name="connsiteX2" fmla="*/ 228620 w 2755313"/>
                <a:gd name="connsiteY2" fmla="*/ 1056015 h 1670753"/>
                <a:gd name="connsiteX3" fmla="*/ 229889 w 2755313"/>
                <a:gd name="connsiteY3" fmla="*/ 1057790 h 1670753"/>
                <a:gd name="connsiteX4" fmla="*/ 261619 w 2755313"/>
                <a:gd name="connsiteY4" fmla="*/ 1115473 h 1670753"/>
                <a:gd name="connsiteX5" fmla="*/ 504541 w 2755313"/>
                <a:gd name="connsiteY5" fmla="*/ 1343544 h 1670753"/>
                <a:gd name="connsiteX6" fmla="*/ 626890 w 2755313"/>
                <a:gd name="connsiteY6" fmla="*/ 1408453 h 1670753"/>
                <a:gd name="connsiteX7" fmla="*/ 627398 w 2755313"/>
                <a:gd name="connsiteY7" fmla="*/ 471956 h 1670753"/>
                <a:gd name="connsiteX8" fmla="*/ 1153475 w 2755313"/>
                <a:gd name="connsiteY8" fmla="*/ 477280 h 1670753"/>
                <a:gd name="connsiteX9" fmla="*/ 1408835 w 2755313"/>
                <a:gd name="connsiteY9" fmla="*/ 1038266 h 1670753"/>
                <a:gd name="connsiteX10" fmla="*/ 1366064 w 2755313"/>
                <a:gd name="connsiteY10" fmla="*/ 1092400 h 1670753"/>
                <a:gd name="connsiteX11" fmla="*/ 1349310 w 2755313"/>
                <a:gd name="connsiteY11" fmla="*/ 1110402 h 1670753"/>
                <a:gd name="connsiteX12" fmla="*/ 919311 w 2755313"/>
                <a:gd name="connsiteY12" fmla="*/ 1208273 h 1670753"/>
                <a:gd name="connsiteX13" fmla="*/ 919311 w 2755313"/>
                <a:gd name="connsiteY13" fmla="*/ 1511015 h 1670753"/>
                <a:gd name="connsiteX14" fmla="*/ 1027445 w 2755313"/>
                <a:gd name="connsiteY14" fmla="*/ 1533962 h 1670753"/>
                <a:gd name="connsiteX15" fmla="*/ 1143702 w 2755313"/>
                <a:gd name="connsiteY15" fmla="*/ 1552344 h 1670753"/>
                <a:gd name="connsiteX16" fmla="*/ 1653534 w 2755313"/>
                <a:gd name="connsiteY16" fmla="*/ 1559697 h 1670753"/>
                <a:gd name="connsiteX17" fmla="*/ 1773218 w 2755313"/>
                <a:gd name="connsiteY17" fmla="*/ 1544738 h 1670753"/>
                <a:gd name="connsiteX18" fmla="*/ 1876530 w 2755313"/>
                <a:gd name="connsiteY18" fmla="*/ 1525975 h 1670753"/>
                <a:gd name="connsiteX19" fmla="*/ 1824366 w 2755313"/>
                <a:gd name="connsiteY19" fmla="*/ 1405664 h 1670753"/>
                <a:gd name="connsiteX20" fmla="*/ 1419623 w 2755313"/>
                <a:gd name="connsiteY20" fmla="*/ 472463 h 1670753"/>
                <a:gd name="connsiteX21" fmla="*/ 1735523 w 2755313"/>
                <a:gd name="connsiteY21" fmla="*/ 471956 h 1670753"/>
                <a:gd name="connsiteX22" fmla="*/ 1908767 w 2755313"/>
                <a:gd name="connsiteY22" fmla="*/ 908447 h 1670753"/>
                <a:gd name="connsiteX23" fmla="*/ 1965754 w 2755313"/>
                <a:gd name="connsiteY23" fmla="*/ 771528 h 1670753"/>
                <a:gd name="connsiteX24" fmla="*/ 2077442 w 2755313"/>
                <a:gd name="connsiteY24" fmla="*/ 493001 h 1670753"/>
                <a:gd name="connsiteX25" fmla="*/ 2105364 w 2755313"/>
                <a:gd name="connsiteY25" fmla="*/ 424034 h 1670753"/>
                <a:gd name="connsiteX26" fmla="*/ 2132778 w 2755313"/>
                <a:gd name="connsiteY26" fmla="*/ 351391 h 1670753"/>
                <a:gd name="connsiteX27" fmla="*/ 1634496 w 2755313"/>
                <a:gd name="connsiteY27" fmla="*/ 241983 h 1670753"/>
                <a:gd name="connsiteX28" fmla="*/ 1196120 w 2755313"/>
                <a:gd name="connsiteY28" fmla="*/ 245026 h 1670753"/>
                <a:gd name="connsiteX29" fmla="*/ 1060952 w 2755313"/>
                <a:gd name="connsiteY29" fmla="*/ 262648 h 1670753"/>
                <a:gd name="connsiteX30" fmla="*/ 1260214 w 2755313"/>
                <a:gd name="connsiteY30" fmla="*/ 209275 h 1670753"/>
                <a:gd name="connsiteX31" fmla="*/ 2393976 w 2755313"/>
                <a:gd name="connsiteY31" fmla="*/ 252379 h 1670753"/>
                <a:gd name="connsiteX32" fmla="*/ 2712161 w 2755313"/>
                <a:gd name="connsiteY32" fmla="*/ 381057 h 1670753"/>
                <a:gd name="connsiteX33" fmla="*/ 2755313 w 2755313"/>
                <a:gd name="connsiteY33" fmla="*/ 402989 h 1670753"/>
                <a:gd name="connsiteX34" fmla="*/ 2664821 w 2755313"/>
                <a:gd name="connsiteY34" fmla="*/ 328952 h 1670753"/>
                <a:gd name="connsiteX35" fmla="*/ 1807740 w 2755313"/>
                <a:gd name="connsiteY35" fmla="*/ 17716 h 1670753"/>
                <a:gd name="connsiteX36" fmla="*/ 661158 w 2755313"/>
                <a:gd name="connsiteY36" fmla="*/ 167946 h 1670753"/>
                <a:gd name="connsiteX37" fmla="*/ 277864 w 2755313"/>
                <a:gd name="connsiteY37" fmla="*/ 406412 h 1670753"/>
                <a:gd name="connsiteX38" fmla="*/ 255781 w 2755313"/>
                <a:gd name="connsiteY38" fmla="*/ 427330 h 1670753"/>
                <a:gd name="connsiteX39" fmla="*/ 9940 w 2755313"/>
                <a:gd name="connsiteY39" fmla="*/ 848608 h 1670753"/>
                <a:gd name="connsiteX40" fmla="*/ 139904 w 2755313"/>
                <a:gd name="connsiteY40" fmla="*/ 1363194 h 1670753"/>
                <a:gd name="connsiteX41" fmla="*/ 397168 w 2755313"/>
                <a:gd name="connsiteY41" fmla="*/ 1606478 h 1670753"/>
                <a:gd name="connsiteX42" fmla="*/ 502003 w 2755313"/>
                <a:gd name="connsiteY42" fmla="*/ 1670753 h 1670753"/>
                <a:gd name="connsiteX43" fmla="*/ 502003 w 2755313"/>
                <a:gd name="connsiteY43" fmla="*/ 1670753 h 167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755313" h="1670753">
                  <a:moveTo>
                    <a:pt x="502129" y="1670753"/>
                  </a:moveTo>
                  <a:cubicBezTo>
                    <a:pt x="497307" y="1662766"/>
                    <a:pt x="458723" y="1628157"/>
                    <a:pt x="445778" y="1614591"/>
                  </a:cubicBezTo>
                  <a:cubicBezTo>
                    <a:pt x="302360" y="1464235"/>
                    <a:pt x="210217" y="1284593"/>
                    <a:pt x="228620" y="1056015"/>
                  </a:cubicBezTo>
                  <a:cubicBezTo>
                    <a:pt x="229001" y="1056522"/>
                    <a:pt x="229635" y="1056775"/>
                    <a:pt x="229889" y="1057790"/>
                  </a:cubicBezTo>
                  <a:lnTo>
                    <a:pt x="261619" y="1115473"/>
                  </a:lnTo>
                  <a:cubicBezTo>
                    <a:pt x="325205" y="1215880"/>
                    <a:pt x="404275" y="1279521"/>
                    <a:pt x="504541" y="1343544"/>
                  </a:cubicBezTo>
                  <a:cubicBezTo>
                    <a:pt x="532844" y="1361673"/>
                    <a:pt x="595034" y="1397550"/>
                    <a:pt x="626890" y="1408453"/>
                  </a:cubicBezTo>
                  <a:lnTo>
                    <a:pt x="627398" y="471956"/>
                  </a:lnTo>
                  <a:cubicBezTo>
                    <a:pt x="730837" y="472970"/>
                    <a:pt x="1081259" y="465744"/>
                    <a:pt x="1153475" y="477280"/>
                  </a:cubicBezTo>
                  <a:cubicBezTo>
                    <a:pt x="1455160" y="525455"/>
                    <a:pt x="1530042" y="852158"/>
                    <a:pt x="1408835" y="1038266"/>
                  </a:cubicBezTo>
                  <a:cubicBezTo>
                    <a:pt x="1396270" y="1057663"/>
                    <a:pt x="1383325" y="1076172"/>
                    <a:pt x="1366064" y="1092400"/>
                  </a:cubicBezTo>
                  <a:cubicBezTo>
                    <a:pt x="1359591" y="1098485"/>
                    <a:pt x="1357687" y="1102668"/>
                    <a:pt x="1349310" y="1110402"/>
                  </a:cubicBezTo>
                  <a:cubicBezTo>
                    <a:pt x="1223407" y="1226656"/>
                    <a:pt x="1080243" y="1208653"/>
                    <a:pt x="919311" y="1208273"/>
                  </a:cubicBezTo>
                  <a:lnTo>
                    <a:pt x="919311" y="1511015"/>
                  </a:lnTo>
                  <a:cubicBezTo>
                    <a:pt x="919311" y="1511015"/>
                    <a:pt x="1027445" y="1533962"/>
                    <a:pt x="1027445" y="1533962"/>
                  </a:cubicBezTo>
                  <a:cubicBezTo>
                    <a:pt x="1066790" y="1541568"/>
                    <a:pt x="1102708" y="1546766"/>
                    <a:pt x="1143702" y="1552344"/>
                  </a:cubicBezTo>
                  <a:cubicBezTo>
                    <a:pt x="1325830" y="1576812"/>
                    <a:pt x="1473437" y="1573643"/>
                    <a:pt x="1653534" y="1559697"/>
                  </a:cubicBezTo>
                  <a:cubicBezTo>
                    <a:pt x="1693513" y="1556655"/>
                    <a:pt x="1736031" y="1550696"/>
                    <a:pt x="1773218" y="1544738"/>
                  </a:cubicBezTo>
                  <a:lnTo>
                    <a:pt x="1876530" y="1525975"/>
                  </a:lnTo>
                  <a:lnTo>
                    <a:pt x="1824366" y="1405664"/>
                  </a:lnTo>
                  <a:lnTo>
                    <a:pt x="1419623" y="472463"/>
                  </a:lnTo>
                  <a:lnTo>
                    <a:pt x="1735523" y="471956"/>
                  </a:lnTo>
                  <a:lnTo>
                    <a:pt x="1908767" y="908447"/>
                  </a:lnTo>
                  <a:cubicBezTo>
                    <a:pt x="1918159" y="897417"/>
                    <a:pt x="1956742" y="793968"/>
                    <a:pt x="1965754" y="771528"/>
                  </a:cubicBezTo>
                  <a:lnTo>
                    <a:pt x="2077442" y="493001"/>
                  </a:lnTo>
                  <a:cubicBezTo>
                    <a:pt x="2086580" y="470054"/>
                    <a:pt x="2095337" y="449136"/>
                    <a:pt x="2105364" y="424034"/>
                  </a:cubicBezTo>
                  <a:cubicBezTo>
                    <a:pt x="2111456" y="408694"/>
                    <a:pt x="2131128" y="364830"/>
                    <a:pt x="2132778" y="351391"/>
                  </a:cubicBezTo>
                  <a:cubicBezTo>
                    <a:pt x="1984157" y="298018"/>
                    <a:pt x="1812436" y="255675"/>
                    <a:pt x="1634496" y="241983"/>
                  </a:cubicBezTo>
                  <a:cubicBezTo>
                    <a:pt x="1481686" y="230320"/>
                    <a:pt x="1348676" y="228418"/>
                    <a:pt x="1196120" y="245026"/>
                  </a:cubicBezTo>
                  <a:lnTo>
                    <a:pt x="1060952" y="262648"/>
                  </a:lnTo>
                  <a:cubicBezTo>
                    <a:pt x="1085193" y="249590"/>
                    <a:pt x="1224930" y="217008"/>
                    <a:pt x="1260214" y="209275"/>
                  </a:cubicBezTo>
                  <a:cubicBezTo>
                    <a:pt x="1607843" y="132448"/>
                    <a:pt x="2051296" y="144112"/>
                    <a:pt x="2393976" y="252379"/>
                  </a:cubicBezTo>
                  <a:cubicBezTo>
                    <a:pt x="2533079" y="296370"/>
                    <a:pt x="2590066" y="320078"/>
                    <a:pt x="2712161" y="381057"/>
                  </a:cubicBezTo>
                  <a:cubicBezTo>
                    <a:pt x="2725741" y="387776"/>
                    <a:pt x="2742241" y="398679"/>
                    <a:pt x="2755313" y="402989"/>
                  </a:cubicBezTo>
                  <a:cubicBezTo>
                    <a:pt x="2746302" y="389297"/>
                    <a:pt x="2684366" y="343278"/>
                    <a:pt x="2664821" y="328952"/>
                  </a:cubicBezTo>
                  <a:cubicBezTo>
                    <a:pt x="2427229" y="154254"/>
                    <a:pt x="2106125" y="55876"/>
                    <a:pt x="1807740" y="17716"/>
                  </a:cubicBezTo>
                  <a:cubicBezTo>
                    <a:pt x="1408962" y="-33375"/>
                    <a:pt x="975916" y="28872"/>
                    <a:pt x="661158" y="167946"/>
                  </a:cubicBezTo>
                  <a:cubicBezTo>
                    <a:pt x="489818" y="243631"/>
                    <a:pt x="411129" y="295863"/>
                    <a:pt x="277864" y="406412"/>
                  </a:cubicBezTo>
                  <a:cubicBezTo>
                    <a:pt x="268980" y="413765"/>
                    <a:pt x="264157" y="419470"/>
                    <a:pt x="255781" y="427330"/>
                  </a:cubicBezTo>
                  <a:cubicBezTo>
                    <a:pt x="152342" y="524568"/>
                    <a:pt x="44334" y="659965"/>
                    <a:pt x="9940" y="848608"/>
                  </a:cubicBezTo>
                  <a:cubicBezTo>
                    <a:pt x="-27628" y="1055000"/>
                    <a:pt x="46873" y="1237685"/>
                    <a:pt x="139904" y="1363194"/>
                  </a:cubicBezTo>
                  <a:cubicBezTo>
                    <a:pt x="210598" y="1458403"/>
                    <a:pt x="300964" y="1540934"/>
                    <a:pt x="397168" y="1606478"/>
                  </a:cubicBezTo>
                  <a:cubicBezTo>
                    <a:pt x="418871" y="1621311"/>
                    <a:pt x="479284" y="1663908"/>
                    <a:pt x="502003" y="1670753"/>
                  </a:cubicBezTo>
                  <a:lnTo>
                    <a:pt x="502003" y="1670753"/>
                  </a:lnTo>
                  <a:close/>
                </a:path>
              </a:pathLst>
            </a:custGeom>
            <a:solidFill>
              <a:srgbClr val="284191"/>
            </a:solidFill>
            <a:ln w="126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201529E-EB32-BDE5-FABB-E4732AEA416D}"/>
                </a:ext>
              </a:extLst>
            </p:cNvPr>
            <p:cNvSpPr/>
            <p:nvPr/>
          </p:nvSpPr>
          <p:spPr>
            <a:xfrm>
              <a:off x="1501764" y="4601056"/>
              <a:ext cx="2286006" cy="1327000"/>
            </a:xfrm>
            <a:custGeom>
              <a:avLst/>
              <a:gdLst>
                <a:gd name="connsiteX0" fmla="*/ 1951245 w 2286006"/>
                <a:gd name="connsiteY0" fmla="*/ 127 h 1327000"/>
                <a:gd name="connsiteX1" fmla="*/ 2117127 w 2286006"/>
                <a:gd name="connsiteY1" fmla="*/ 198532 h 1327000"/>
                <a:gd name="connsiteX2" fmla="*/ 2196578 w 2286006"/>
                <a:gd name="connsiteY2" fmla="*/ 482004 h 1327000"/>
                <a:gd name="connsiteX3" fmla="*/ 2055064 w 2286006"/>
                <a:gd name="connsiteY3" fmla="*/ 795142 h 1327000"/>
                <a:gd name="connsiteX4" fmla="*/ 1419076 w 2286006"/>
                <a:gd name="connsiteY4" fmla="*/ 1155187 h 1327000"/>
                <a:gd name="connsiteX5" fmla="*/ 960646 w 2286006"/>
                <a:gd name="connsiteY5" fmla="*/ 1240761 h 1327000"/>
                <a:gd name="connsiteX6" fmla="*/ 790956 w 2286006"/>
                <a:gd name="connsiteY6" fmla="*/ 1251410 h 1327000"/>
                <a:gd name="connsiteX7" fmla="*/ 311204 w 2286006"/>
                <a:gd name="connsiteY7" fmla="*/ 1219462 h 1327000"/>
                <a:gd name="connsiteX8" fmla="*/ 0 w 2286006"/>
                <a:gd name="connsiteY8" fmla="*/ 1149862 h 1327000"/>
                <a:gd name="connsiteX9" fmla="*/ 133772 w 2286006"/>
                <a:gd name="connsiteY9" fmla="*/ 1216546 h 1327000"/>
                <a:gd name="connsiteX10" fmla="*/ 753261 w 2286006"/>
                <a:gd name="connsiteY10" fmla="*/ 1326588 h 1327000"/>
                <a:gd name="connsiteX11" fmla="*/ 1494973 w 2286006"/>
                <a:gd name="connsiteY11" fmla="*/ 1225548 h 1327000"/>
                <a:gd name="connsiteX12" fmla="*/ 2026508 w 2286006"/>
                <a:gd name="connsiteY12" fmla="*/ 973770 h 1327000"/>
                <a:gd name="connsiteX13" fmla="*/ 2277298 w 2286006"/>
                <a:gd name="connsiteY13" fmla="*/ 457790 h 1327000"/>
                <a:gd name="connsiteX14" fmla="*/ 2147588 w 2286006"/>
                <a:gd name="connsiteY14" fmla="*/ 194602 h 1327000"/>
                <a:gd name="connsiteX15" fmla="*/ 2054810 w 2286006"/>
                <a:gd name="connsiteY15" fmla="*/ 91025 h 1327000"/>
                <a:gd name="connsiteX16" fmla="*/ 1950991 w 2286006"/>
                <a:gd name="connsiteY16" fmla="*/ 0 h 1327000"/>
                <a:gd name="connsiteX17" fmla="*/ 1950991 w 2286006"/>
                <a:gd name="connsiteY17" fmla="*/ 0 h 13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86006" h="1327000">
                  <a:moveTo>
                    <a:pt x="1951245" y="127"/>
                  </a:moveTo>
                  <a:cubicBezTo>
                    <a:pt x="1955941" y="8874"/>
                    <a:pt x="2059125" y="98759"/>
                    <a:pt x="2117127" y="198532"/>
                  </a:cubicBezTo>
                  <a:cubicBezTo>
                    <a:pt x="2160280" y="272823"/>
                    <a:pt x="2204320" y="367778"/>
                    <a:pt x="2196578" y="482004"/>
                  </a:cubicBezTo>
                  <a:cubicBezTo>
                    <a:pt x="2188075" y="608273"/>
                    <a:pt x="2129439" y="713498"/>
                    <a:pt x="2055064" y="795142"/>
                  </a:cubicBezTo>
                  <a:cubicBezTo>
                    <a:pt x="1891720" y="974530"/>
                    <a:pt x="1665171" y="1083558"/>
                    <a:pt x="1419076" y="1155187"/>
                  </a:cubicBezTo>
                  <a:cubicBezTo>
                    <a:pt x="1292030" y="1192079"/>
                    <a:pt x="1098987" y="1231633"/>
                    <a:pt x="960646" y="1240761"/>
                  </a:cubicBezTo>
                  <a:cubicBezTo>
                    <a:pt x="906706" y="1244310"/>
                    <a:pt x="844516" y="1251283"/>
                    <a:pt x="790956" y="1251410"/>
                  </a:cubicBezTo>
                  <a:cubicBezTo>
                    <a:pt x="614285" y="1251410"/>
                    <a:pt x="500186" y="1251917"/>
                    <a:pt x="311204" y="1219462"/>
                  </a:cubicBezTo>
                  <a:cubicBezTo>
                    <a:pt x="233657" y="1206151"/>
                    <a:pt x="67648" y="1175217"/>
                    <a:pt x="0" y="1149862"/>
                  </a:cubicBezTo>
                  <a:cubicBezTo>
                    <a:pt x="7996" y="1163174"/>
                    <a:pt x="112450" y="1208179"/>
                    <a:pt x="133772" y="1216546"/>
                  </a:cubicBezTo>
                  <a:cubicBezTo>
                    <a:pt x="337730" y="1295782"/>
                    <a:pt x="533692" y="1322405"/>
                    <a:pt x="753261" y="1326588"/>
                  </a:cubicBezTo>
                  <a:cubicBezTo>
                    <a:pt x="1015348" y="1331659"/>
                    <a:pt x="1266266" y="1289443"/>
                    <a:pt x="1494973" y="1225548"/>
                  </a:cubicBezTo>
                  <a:cubicBezTo>
                    <a:pt x="1685604" y="1172302"/>
                    <a:pt x="1892482" y="1077219"/>
                    <a:pt x="2026508" y="973770"/>
                  </a:cubicBezTo>
                  <a:cubicBezTo>
                    <a:pt x="2183125" y="853078"/>
                    <a:pt x="2322735" y="678888"/>
                    <a:pt x="2277298" y="457790"/>
                  </a:cubicBezTo>
                  <a:cubicBezTo>
                    <a:pt x="2254580" y="346734"/>
                    <a:pt x="2204320" y="270161"/>
                    <a:pt x="2147588" y="194602"/>
                  </a:cubicBezTo>
                  <a:cubicBezTo>
                    <a:pt x="2126392" y="166331"/>
                    <a:pt x="2078036" y="111817"/>
                    <a:pt x="2054810" y="91025"/>
                  </a:cubicBezTo>
                  <a:cubicBezTo>
                    <a:pt x="2031331" y="70107"/>
                    <a:pt x="1975613" y="14072"/>
                    <a:pt x="1950991" y="0"/>
                  </a:cubicBezTo>
                  <a:lnTo>
                    <a:pt x="1950991" y="0"/>
                  </a:lnTo>
                  <a:close/>
                </a:path>
              </a:pathLst>
            </a:custGeom>
            <a:solidFill>
              <a:srgbClr val="96AAD2"/>
            </a:solidFill>
            <a:ln w="126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grpSp>
          <p:nvGrpSpPr>
            <p:cNvPr id="16" name="Grafik 3">
              <a:extLst>
                <a:ext uri="{FF2B5EF4-FFF2-40B4-BE49-F238E27FC236}">
                  <a16:creationId xmlns:a16="http://schemas.microsoft.com/office/drawing/2014/main" id="{A95049E3-7A1F-5FED-E808-BC2F61FED7CF}"/>
                </a:ext>
              </a:extLst>
            </p:cNvPr>
            <p:cNvGrpSpPr/>
            <p:nvPr/>
          </p:nvGrpSpPr>
          <p:grpSpPr>
            <a:xfrm>
              <a:off x="4058409" y="4436754"/>
              <a:ext cx="6616260" cy="1099912"/>
              <a:chOff x="4058409" y="4436754"/>
              <a:chExt cx="6616260" cy="1099912"/>
            </a:xfrm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469DF22C-FB74-773D-9385-1D1FB1F8BACC}"/>
                  </a:ext>
                </a:extLst>
              </p:cNvPr>
              <p:cNvSpPr/>
              <p:nvPr/>
            </p:nvSpPr>
            <p:spPr>
              <a:xfrm>
                <a:off x="4080366" y="4468068"/>
                <a:ext cx="304223" cy="438392"/>
              </a:xfrm>
              <a:custGeom>
                <a:avLst/>
                <a:gdLst>
                  <a:gd name="connsiteX0" fmla="*/ 304097 w 304223"/>
                  <a:gd name="connsiteY0" fmla="*/ 135904 h 438392"/>
                  <a:gd name="connsiteX1" fmla="*/ 139737 w 304223"/>
                  <a:gd name="connsiteY1" fmla="*/ 273076 h 438392"/>
                  <a:gd name="connsiteX2" fmla="*/ 89604 w 304223"/>
                  <a:gd name="connsiteY2" fmla="*/ 273076 h 438392"/>
                  <a:gd name="connsiteX3" fmla="*/ 89604 w 304223"/>
                  <a:gd name="connsiteY3" fmla="*/ 438393 h 438392"/>
                  <a:gd name="connsiteX4" fmla="*/ 0 w 304223"/>
                  <a:gd name="connsiteY4" fmla="*/ 438393 h 438392"/>
                  <a:gd name="connsiteX5" fmla="*/ 0 w 304223"/>
                  <a:gd name="connsiteY5" fmla="*/ 0 h 438392"/>
                  <a:gd name="connsiteX6" fmla="*/ 139864 w 304223"/>
                  <a:gd name="connsiteY6" fmla="*/ 0 h 438392"/>
                  <a:gd name="connsiteX7" fmla="*/ 304224 w 304223"/>
                  <a:gd name="connsiteY7" fmla="*/ 135904 h 438392"/>
                  <a:gd name="connsiteX8" fmla="*/ 208781 w 304223"/>
                  <a:gd name="connsiteY8" fmla="*/ 137806 h 438392"/>
                  <a:gd name="connsiteX9" fmla="*/ 137326 w 304223"/>
                  <a:gd name="connsiteY9" fmla="*/ 75812 h 438392"/>
                  <a:gd name="connsiteX10" fmla="*/ 89604 w 304223"/>
                  <a:gd name="connsiteY10" fmla="*/ 75812 h 438392"/>
                  <a:gd name="connsiteX11" fmla="*/ 89604 w 304223"/>
                  <a:gd name="connsiteY11" fmla="*/ 197391 h 438392"/>
                  <a:gd name="connsiteX12" fmla="*/ 125396 w 304223"/>
                  <a:gd name="connsiteY12" fmla="*/ 197391 h 438392"/>
                  <a:gd name="connsiteX13" fmla="*/ 208781 w 304223"/>
                  <a:gd name="connsiteY13" fmla="*/ 137933 h 438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223" h="438392">
                    <a:moveTo>
                      <a:pt x="304097" y="135904"/>
                    </a:moveTo>
                    <a:cubicBezTo>
                      <a:pt x="304097" y="236818"/>
                      <a:pt x="215000" y="273076"/>
                      <a:pt x="139737" y="273076"/>
                    </a:cubicBezTo>
                    <a:lnTo>
                      <a:pt x="89604" y="273076"/>
                    </a:lnTo>
                    <a:lnTo>
                      <a:pt x="89604" y="438393"/>
                    </a:lnTo>
                    <a:lnTo>
                      <a:pt x="0" y="438393"/>
                    </a:lnTo>
                    <a:lnTo>
                      <a:pt x="0" y="0"/>
                    </a:lnTo>
                    <a:lnTo>
                      <a:pt x="139864" y="0"/>
                    </a:lnTo>
                    <a:cubicBezTo>
                      <a:pt x="214492" y="0"/>
                      <a:pt x="304224" y="36385"/>
                      <a:pt x="304224" y="135904"/>
                    </a:cubicBezTo>
                    <a:close/>
                    <a:moveTo>
                      <a:pt x="208781" y="137806"/>
                    </a:moveTo>
                    <a:cubicBezTo>
                      <a:pt x="208781" y="99012"/>
                      <a:pt x="179970" y="75812"/>
                      <a:pt x="137326" y="75812"/>
                    </a:cubicBezTo>
                    <a:lnTo>
                      <a:pt x="89604" y="75812"/>
                    </a:lnTo>
                    <a:lnTo>
                      <a:pt x="89604" y="197391"/>
                    </a:lnTo>
                    <a:lnTo>
                      <a:pt x="125396" y="197391"/>
                    </a:lnTo>
                    <a:cubicBezTo>
                      <a:pt x="172990" y="197391"/>
                      <a:pt x="208781" y="181671"/>
                      <a:pt x="208781" y="137933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F4C7D0F-B02C-B6E1-D43E-9C0E21286586}"/>
                  </a:ext>
                </a:extLst>
              </p:cNvPr>
              <p:cNvSpPr/>
              <p:nvPr/>
            </p:nvSpPr>
            <p:spPr>
              <a:xfrm>
                <a:off x="4411370" y="4569616"/>
                <a:ext cx="326688" cy="344451"/>
              </a:xfrm>
              <a:custGeom>
                <a:avLst/>
                <a:gdLst>
                  <a:gd name="connsiteX0" fmla="*/ 173117 w 326688"/>
                  <a:gd name="connsiteY0" fmla="*/ 273076 h 344451"/>
                  <a:gd name="connsiteX1" fmla="*/ 259041 w 326688"/>
                  <a:gd name="connsiteY1" fmla="*/ 224267 h 344451"/>
                  <a:gd name="connsiteX2" fmla="*/ 317296 w 326688"/>
                  <a:gd name="connsiteY2" fmla="*/ 263695 h 344451"/>
                  <a:gd name="connsiteX3" fmla="*/ 166771 w 326688"/>
                  <a:gd name="connsiteY3" fmla="*/ 344452 h 344451"/>
                  <a:gd name="connsiteX4" fmla="*/ 0 w 326688"/>
                  <a:gd name="connsiteY4" fmla="*/ 175966 h 344451"/>
                  <a:gd name="connsiteX5" fmla="*/ 167406 w 326688"/>
                  <a:gd name="connsiteY5" fmla="*/ 0 h 344451"/>
                  <a:gd name="connsiteX6" fmla="*/ 326688 w 326688"/>
                  <a:gd name="connsiteY6" fmla="*/ 152259 h 344451"/>
                  <a:gd name="connsiteX7" fmla="*/ 322246 w 326688"/>
                  <a:gd name="connsiteY7" fmla="*/ 194221 h 344451"/>
                  <a:gd name="connsiteX8" fmla="*/ 90239 w 326688"/>
                  <a:gd name="connsiteY8" fmla="*/ 194221 h 344451"/>
                  <a:gd name="connsiteX9" fmla="*/ 172990 w 326688"/>
                  <a:gd name="connsiteY9" fmla="*/ 273203 h 344451"/>
                  <a:gd name="connsiteX10" fmla="*/ 169944 w 326688"/>
                  <a:gd name="connsiteY10" fmla="*/ 69473 h 344451"/>
                  <a:gd name="connsiteX11" fmla="*/ 94681 w 326688"/>
                  <a:gd name="connsiteY11" fmla="*/ 133369 h 344451"/>
                  <a:gd name="connsiteX12" fmla="*/ 235815 w 326688"/>
                  <a:gd name="connsiteY12" fmla="*/ 133369 h 344451"/>
                  <a:gd name="connsiteX13" fmla="*/ 169944 w 326688"/>
                  <a:gd name="connsiteY13" fmla="*/ 69473 h 34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6688" h="344451">
                    <a:moveTo>
                      <a:pt x="173117" y="273076"/>
                    </a:moveTo>
                    <a:cubicBezTo>
                      <a:pt x="215761" y="273076"/>
                      <a:pt x="237718" y="255581"/>
                      <a:pt x="259041" y="224267"/>
                    </a:cubicBezTo>
                    <a:lnTo>
                      <a:pt x="317296" y="263695"/>
                    </a:lnTo>
                    <a:cubicBezTo>
                      <a:pt x="279728" y="318209"/>
                      <a:pt x="237718" y="344452"/>
                      <a:pt x="166771" y="344452"/>
                    </a:cubicBezTo>
                    <a:cubicBezTo>
                      <a:pt x="67013" y="344452"/>
                      <a:pt x="0" y="274978"/>
                      <a:pt x="0" y="175966"/>
                    </a:cubicBezTo>
                    <a:cubicBezTo>
                      <a:pt x="0" y="76953"/>
                      <a:pt x="72724" y="0"/>
                      <a:pt x="167406" y="0"/>
                    </a:cubicBezTo>
                    <a:cubicBezTo>
                      <a:pt x="262087" y="0"/>
                      <a:pt x="326688" y="64529"/>
                      <a:pt x="326688" y="152259"/>
                    </a:cubicBezTo>
                    <a:cubicBezTo>
                      <a:pt x="326688" y="165443"/>
                      <a:pt x="324785" y="181037"/>
                      <a:pt x="322246" y="194221"/>
                    </a:cubicBezTo>
                    <a:lnTo>
                      <a:pt x="90239" y="194221"/>
                    </a:lnTo>
                    <a:cubicBezTo>
                      <a:pt x="96458" y="239354"/>
                      <a:pt x="126030" y="273203"/>
                      <a:pt x="172990" y="273203"/>
                    </a:cubicBezTo>
                    <a:close/>
                    <a:moveTo>
                      <a:pt x="169944" y="69473"/>
                    </a:moveTo>
                    <a:cubicBezTo>
                      <a:pt x="127299" y="69473"/>
                      <a:pt x="104073" y="96350"/>
                      <a:pt x="94681" y="133369"/>
                    </a:cubicBezTo>
                    <a:lnTo>
                      <a:pt x="235815" y="133369"/>
                    </a:lnTo>
                    <a:cubicBezTo>
                      <a:pt x="233911" y="93941"/>
                      <a:pt x="206370" y="69473"/>
                      <a:pt x="169944" y="69473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44B7557-B52E-8B63-4A99-437906425740}"/>
                  </a:ext>
                </a:extLst>
              </p:cNvPr>
              <p:cNvSpPr/>
              <p:nvPr/>
            </p:nvSpPr>
            <p:spPr>
              <a:xfrm>
                <a:off x="4808879" y="4569616"/>
                <a:ext cx="303589" cy="336971"/>
              </a:xfrm>
              <a:custGeom>
                <a:avLst/>
                <a:gdLst>
                  <a:gd name="connsiteX0" fmla="*/ 186316 w 303589"/>
                  <a:gd name="connsiteY0" fmla="*/ 0 h 336971"/>
                  <a:gd name="connsiteX1" fmla="*/ 274144 w 303589"/>
                  <a:gd name="connsiteY1" fmla="*/ 43231 h 336971"/>
                  <a:gd name="connsiteX2" fmla="*/ 303589 w 303589"/>
                  <a:gd name="connsiteY2" fmla="*/ 165950 h 336971"/>
                  <a:gd name="connsiteX3" fmla="*/ 303589 w 303589"/>
                  <a:gd name="connsiteY3" fmla="*/ 336972 h 336971"/>
                  <a:gd name="connsiteX4" fmla="*/ 214492 w 303589"/>
                  <a:gd name="connsiteY4" fmla="*/ 336972 h 336971"/>
                  <a:gd name="connsiteX5" fmla="*/ 214492 w 303589"/>
                  <a:gd name="connsiteY5" fmla="*/ 170387 h 336971"/>
                  <a:gd name="connsiteX6" fmla="*/ 204466 w 303589"/>
                  <a:gd name="connsiteY6" fmla="*/ 99646 h 336971"/>
                  <a:gd name="connsiteX7" fmla="*/ 160552 w 303589"/>
                  <a:gd name="connsiteY7" fmla="*/ 76446 h 336971"/>
                  <a:gd name="connsiteX8" fmla="*/ 89097 w 303589"/>
                  <a:gd name="connsiteY8" fmla="*/ 118409 h 336971"/>
                  <a:gd name="connsiteX9" fmla="*/ 89097 w 303589"/>
                  <a:gd name="connsiteY9" fmla="*/ 336972 h 336971"/>
                  <a:gd name="connsiteX10" fmla="*/ 0 w 303589"/>
                  <a:gd name="connsiteY10" fmla="*/ 336972 h 336971"/>
                  <a:gd name="connsiteX11" fmla="*/ 0 w 303589"/>
                  <a:gd name="connsiteY11" fmla="*/ 7480 h 336971"/>
                  <a:gd name="connsiteX12" fmla="*/ 77167 w 303589"/>
                  <a:gd name="connsiteY12" fmla="*/ 7480 h 336971"/>
                  <a:gd name="connsiteX13" fmla="*/ 84020 w 303589"/>
                  <a:gd name="connsiteY13" fmla="*/ 52612 h 336971"/>
                  <a:gd name="connsiteX14" fmla="*/ 186190 w 303589"/>
                  <a:gd name="connsiteY14" fmla="*/ 0 h 3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3589" h="336971">
                    <a:moveTo>
                      <a:pt x="186316" y="0"/>
                    </a:moveTo>
                    <a:cubicBezTo>
                      <a:pt x="222107" y="0"/>
                      <a:pt x="253456" y="16861"/>
                      <a:pt x="274144" y="43231"/>
                    </a:cubicBezTo>
                    <a:cubicBezTo>
                      <a:pt x="299908" y="76446"/>
                      <a:pt x="303589" y="119043"/>
                      <a:pt x="303589" y="165950"/>
                    </a:cubicBezTo>
                    <a:lnTo>
                      <a:pt x="303589" y="336972"/>
                    </a:lnTo>
                    <a:lnTo>
                      <a:pt x="214492" y="336972"/>
                    </a:lnTo>
                    <a:lnTo>
                      <a:pt x="214492" y="170387"/>
                    </a:lnTo>
                    <a:cubicBezTo>
                      <a:pt x="214492" y="145920"/>
                      <a:pt x="213858" y="118409"/>
                      <a:pt x="204466" y="99646"/>
                    </a:cubicBezTo>
                    <a:cubicBezTo>
                      <a:pt x="196343" y="83419"/>
                      <a:pt x="179970" y="76446"/>
                      <a:pt x="160552" y="76446"/>
                    </a:cubicBezTo>
                    <a:cubicBezTo>
                      <a:pt x="134153" y="76446"/>
                      <a:pt x="105343" y="91533"/>
                      <a:pt x="89097" y="118409"/>
                    </a:cubicBezTo>
                    <a:lnTo>
                      <a:pt x="89097" y="336972"/>
                    </a:lnTo>
                    <a:lnTo>
                      <a:pt x="0" y="336972"/>
                    </a:lnTo>
                    <a:lnTo>
                      <a:pt x="0" y="7480"/>
                    </a:lnTo>
                    <a:lnTo>
                      <a:pt x="77167" y="7480"/>
                    </a:lnTo>
                    <a:lnTo>
                      <a:pt x="84020" y="52612"/>
                    </a:lnTo>
                    <a:cubicBezTo>
                      <a:pt x="110292" y="15593"/>
                      <a:pt x="149891" y="0"/>
                      <a:pt x="186190" y="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3D01EDA0-5196-A6AF-B53A-64FAC32BCFFB}"/>
                  </a:ext>
                </a:extLst>
              </p:cNvPr>
              <p:cNvSpPr/>
              <p:nvPr/>
            </p:nvSpPr>
            <p:spPr>
              <a:xfrm>
                <a:off x="5173896" y="4569489"/>
                <a:ext cx="259548" cy="344578"/>
              </a:xfrm>
              <a:custGeom>
                <a:avLst/>
                <a:gdLst>
                  <a:gd name="connsiteX0" fmla="*/ 142910 w 259548"/>
                  <a:gd name="connsiteY0" fmla="*/ 69600 h 344578"/>
                  <a:gd name="connsiteX1" fmla="*/ 110927 w 259548"/>
                  <a:gd name="connsiteY1" fmla="*/ 94702 h 344578"/>
                  <a:gd name="connsiteX2" fmla="*/ 162963 w 259548"/>
                  <a:gd name="connsiteY2" fmla="*/ 137299 h 344578"/>
                  <a:gd name="connsiteX3" fmla="*/ 259548 w 259548"/>
                  <a:gd name="connsiteY3" fmla="*/ 238720 h 344578"/>
                  <a:gd name="connsiteX4" fmla="*/ 132884 w 259548"/>
                  <a:gd name="connsiteY4" fmla="*/ 344578 h 344578"/>
                  <a:gd name="connsiteX5" fmla="*/ 0 w 259548"/>
                  <a:gd name="connsiteY5" fmla="*/ 288163 h 344578"/>
                  <a:gd name="connsiteX6" fmla="*/ 50767 w 259548"/>
                  <a:gd name="connsiteY6" fmla="*/ 235551 h 344578"/>
                  <a:gd name="connsiteX7" fmla="*/ 128568 w 259548"/>
                  <a:gd name="connsiteY7" fmla="*/ 274344 h 344578"/>
                  <a:gd name="connsiteX8" fmla="*/ 170578 w 259548"/>
                  <a:gd name="connsiteY8" fmla="*/ 245566 h 344578"/>
                  <a:gd name="connsiteX9" fmla="*/ 107881 w 259548"/>
                  <a:gd name="connsiteY9" fmla="*/ 197898 h 344578"/>
                  <a:gd name="connsiteX10" fmla="*/ 25130 w 259548"/>
                  <a:gd name="connsiteY10" fmla="*/ 100787 h 344578"/>
                  <a:gd name="connsiteX11" fmla="*/ 143037 w 259548"/>
                  <a:gd name="connsiteY11" fmla="*/ 0 h 344578"/>
                  <a:gd name="connsiteX12" fmla="*/ 257137 w 259548"/>
                  <a:gd name="connsiteY12" fmla="*/ 43231 h 344578"/>
                  <a:gd name="connsiteX13" fmla="*/ 208273 w 259548"/>
                  <a:gd name="connsiteY13" fmla="*/ 97111 h 344578"/>
                  <a:gd name="connsiteX14" fmla="*/ 143037 w 259548"/>
                  <a:gd name="connsiteY14" fmla="*/ 69600 h 34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548" h="344578">
                    <a:moveTo>
                      <a:pt x="142910" y="69600"/>
                    </a:moveTo>
                    <a:cubicBezTo>
                      <a:pt x="126030" y="69600"/>
                      <a:pt x="110927" y="78982"/>
                      <a:pt x="110927" y="94702"/>
                    </a:cubicBezTo>
                    <a:cubicBezTo>
                      <a:pt x="110927" y="115367"/>
                      <a:pt x="135422" y="126016"/>
                      <a:pt x="162963" y="137299"/>
                    </a:cubicBezTo>
                    <a:cubicBezTo>
                      <a:pt x="205608" y="154794"/>
                      <a:pt x="259548" y="176092"/>
                      <a:pt x="259548" y="238720"/>
                    </a:cubicBezTo>
                    <a:cubicBezTo>
                      <a:pt x="259548" y="311363"/>
                      <a:pt x="196851" y="344578"/>
                      <a:pt x="132884" y="344578"/>
                    </a:cubicBezTo>
                    <a:cubicBezTo>
                      <a:pt x="81481" y="344578"/>
                      <a:pt x="36299" y="324548"/>
                      <a:pt x="0" y="288163"/>
                    </a:cubicBezTo>
                    <a:lnTo>
                      <a:pt x="50767" y="235551"/>
                    </a:lnTo>
                    <a:cubicBezTo>
                      <a:pt x="75897" y="260018"/>
                      <a:pt x="96585" y="274344"/>
                      <a:pt x="128568" y="274344"/>
                    </a:cubicBezTo>
                    <a:cubicBezTo>
                      <a:pt x="146718" y="274344"/>
                      <a:pt x="170578" y="265597"/>
                      <a:pt x="170578" y="245566"/>
                    </a:cubicBezTo>
                    <a:cubicBezTo>
                      <a:pt x="170578" y="222366"/>
                      <a:pt x="140499" y="212350"/>
                      <a:pt x="107881" y="197898"/>
                    </a:cubicBezTo>
                    <a:cubicBezTo>
                      <a:pt x="68409" y="181037"/>
                      <a:pt x="25130" y="158471"/>
                      <a:pt x="25130" y="100787"/>
                    </a:cubicBezTo>
                    <a:cubicBezTo>
                      <a:pt x="25130" y="33723"/>
                      <a:pt x="82878" y="0"/>
                      <a:pt x="143037" y="0"/>
                    </a:cubicBezTo>
                    <a:cubicBezTo>
                      <a:pt x="186951" y="0"/>
                      <a:pt x="226423" y="14453"/>
                      <a:pt x="257137" y="43231"/>
                    </a:cubicBezTo>
                    <a:lnTo>
                      <a:pt x="208273" y="97111"/>
                    </a:lnTo>
                    <a:cubicBezTo>
                      <a:pt x="191393" y="82024"/>
                      <a:pt x="168167" y="69600"/>
                      <a:pt x="143037" y="6960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42F469CA-A1E1-56B3-A8CE-1403AED3C2CB}"/>
                  </a:ext>
                </a:extLst>
              </p:cNvPr>
              <p:cNvSpPr/>
              <p:nvPr/>
            </p:nvSpPr>
            <p:spPr>
              <a:xfrm>
                <a:off x="5510484" y="4455517"/>
                <a:ext cx="89097" cy="450943"/>
              </a:xfrm>
              <a:custGeom>
                <a:avLst/>
                <a:gdLst>
                  <a:gd name="connsiteX0" fmla="*/ 89097 w 89097"/>
                  <a:gd name="connsiteY0" fmla="*/ 0 h 450943"/>
                  <a:gd name="connsiteX1" fmla="*/ 89097 w 89097"/>
                  <a:gd name="connsiteY1" fmla="*/ 75812 h 450943"/>
                  <a:gd name="connsiteX2" fmla="*/ 0 w 89097"/>
                  <a:gd name="connsiteY2" fmla="*/ 75812 h 450943"/>
                  <a:gd name="connsiteX3" fmla="*/ 0 w 89097"/>
                  <a:gd name="connsiteY3" fmla="*/ 0 h 450943"/>
                  <a:gd name="connsiteX4" fmla="*/ 89097 w 89097"/>
                  <a:gd name="connsiteY4" fmla="*/ 0 h 450943"/>
                  <a:gd name="connsiteX5" fmla="*/ 89097 w 89097"/>
                  <a:gd name="connsiteY5" fmla="*/ 121452 h 450943"/>
                  <a:gd name="connsiteX6" fmla="*/ 89097 w 89097"/>
                  <a:gd name="connsiteY6" fmla="*/ 450944 h 450943"/>
                  <a:gd name="connsiteX7" fmla="*/ 0 w 89097"/>
                  <a:gd name="connsiteY7" fmla="*/ 450944 h 450943"/>
                  <a:gd name="connsiteX8" fmla="*/ 0 w 89097"/>
                  <a:gd name="connsiteY8" fmla="*/ 121452 h 450943"/>
                  <a:gd name="connsiteX9" fmla="*/ 89097 w 89097"/>
                  <a:gd name="connsiteY9" fmla="*/ 121452 h 45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097" h="450943">
                    <a:moveTo>
                      <a:pt x="89097" y="0"/>
                    </a:moveTo>
                    <a:lnTo>
                      <a:pt x="89097" y="75812"/>
                    </a:lnTo>
                    <a:lnTo>
                      <a:pt x="0" y="75812"/>
                    </a:lnTo>
                    <a:lnTo>
                      <a:pt x="0" y="0"/>
                    </a:lnTo>
                    <a:lnTo>
                      <a:pt x="89097" y="0"/>
                    </a:lnTo>
                    <a:close/>
                    <a:moveTo>
                      <a:pt x="89097" y="121452"/>
                    </a:moveTo>
                    <a:lnTo>
                      <a:pt x="89097" y="450944"/>
                    </a:lnTo>
                    <a:lnTo>
                      <a:pt x="0" y="450944"/>
                    </a:lnTo>
                    <a:lnTo>
                      <a:pt x="0" y="121452"/>
                    </a:lnTo>
                    <a:lnTo>
                      <a:pt x="89097" y="121452"/>
                    </a:ln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6E87B20-5D1C-BEA4-28D1-B8DB5D0D705D}"/>
                  </a:ext>
                </a:extLst>
              </p:cNvPr>
              <p:cNvSpPr/>
              <p:nvPr/>
            </p:nvSpPr>
            <p:spPr>
              <a:xfrm>
                <a:off x="5669767" y="4569489"/>
                <a:ext cx="345598" cy="344578"/>
              </a:xfrm>
              <a:custGeom>
                <a:avLst/>
                <a:gdLst>
                  <a:gd name="connsiteX0" fmla="*/ 345599 w 345598"/>
                  <a:gd name="connsiteY0" fmla="*/ 172289 h 344578"/>
                  <a:gd name="connsiteX1" fmla="*/ 173117 w 345598"/>
                  <a:gd name="connsiteY1" fmla="*/ 344578 h 344578"/>
                  <a:gd name="connsiteX2" fmla="*/ 0 w 345598"/>
                  <a:gd name="connsiteY2" fmla="*/ 172289 h 344578"/>
                  <a:gd name="connsiteX3" fmla="*/ 173117 w 345598"/>
                  <a:gd name="connsiteY3" fmla="*/ 0 h 344578"/>
                  <a:gd name="connsiteX4" fmla="*/ 345599 w 345598"/>
                  <a:gd name="connsiteY4" fmla="*/ 172289 h 344578"/>
                  <a:gd name="connsiteX5" fmla="*/ 173117 w 345598"/>
                  <a:gd name="connsiteY5" fmla="*/ 76446 h 344578"/>
                  <a:gd name="connsiteX6" fmla="*/ 91000 w 345598"/>
                  <a:gd name="connsiteY6" fmla="*/ 172289 h 344578"/>
                  <a:gd name="connsiteX7" fmla="*/ 173117 w 345598"/>
                  <a:gd name="connsiteY7" fmla="*/ 268132 h 344578"/>
                  <a:gd name="connsiteX8" fmla="*/ 254598 w 345598"/>
                  <a:gd name="connsiteY8" fmla="*/ 172289 h 344578"/>
                  <a:gd name="connsiteX9" fmla="*/ 173117 w 345598"/>
                  <a:gd name="connsiteY9" fmla="*/ 76446 h 34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598" h="344578">
                    <a:moveTo>
                      <a:pt x="345599" y="172289"/>
                    </a:moveTo>
                    <a:cubicBezTo>
                      <a:pt x="345599" y="269400"/>
                      <a:pt x="273509" y="344578"/>
                      <a:pt x="173117" y="344578"/>
                    </a:cubicBezTo>
                    <a:cubicBezTo>
                      <a:pt x="72724" y="344578"/>
                      <a:pt x="0" y="269400"/>
                      <a:pt x="0" y="172289"/>
                    </a:cubicBezTo>
                    <a:cubicBezTo>
                      <a:pt x="0" y="75178"/>
                      <a:pt x="72090" y="0"/>
                      <a:pt x="173117" y="0"/>
                    </a:cubicBezTo>
                    <a:cubicBezTo>
                      <a:pt x="274144" y="0"/>
                      <a:pt x="345599" y="75178"/>
                      <a:pt x="345599" y="172289"/>
                    </a:cubicBezTo>
                    <a:close/>
                    <a:moveTo>
                      <a:pt x="173117" y="76446"/>
                    </a:moveTo>
                    <a:cubicBezTo>
                      <a:pt x="124253" y="76446"/>
                      <a:pt x="91000" y="118409"/>
                      <a:pt x="91000" y="172289"/>
                    </a:cubicBezTo>
                    <a:cubicBezTo>
                      <a:pt x="91000" y="226169"/>
                      <a:pt x="124253" y="268132"/>
                      <a:pt x="173117" y="268132"/>
                    </a:cubicBezTo>
                    <a:cubicBezTo>
                      <a:pt x="221980" y="268132"/>
                      <a:pt x="254598" y="226169"/>
                      <a:pt x="254598" y="172289"/>
                    </a:cubicBezTo>
                    <a:cubicBezTo>
                      <a:pt x="254598" y="118409"/>
                      <a:pt x="221980" y="76446"/>
                      <a:pt x="173117" y="76446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720DF868-FB5A-1A7B-6B74-E9ECB248A286}"/>
                  </a:ext>
                </a:extLst>
              </p:cNvPr>
              <p:cNvSpPr/>
              <p:nvPr/>
            </p:nvSpPr>
            <p:spPr>
              <a:xfrm>
                <a:off x="6085425" y="4569616"/>
                <a:ext cx="303588" cy="336971"/>
              </a:xfrm>
              <a:custGeom>
                <a:avLst/>
                <a:gdLst>
                  <a:gd name="connsiteX0" fmla="*/ 186316 w 303588"/>
                  <a:gd name="connsiteY0" fmla="*/ 0 h 336971"/>
                  <a:gd name="connsiteX1" fmla="*/ 274144 w 303588"/>
                  <a:gd name="connsiteY1" fmla="*/ 43231 h 336971"/>
                  <a:gd name="connsiteX2" fmla="*/ 303589 w 303588"/>
                  <a:gd name="connsiteY2" fmla="*/ 165950 h 336971"/>
                  <a:gd name="connsiteX3" fmla="*/ 303589 w 303588"/>
                  <a:gd name="connsiteY3" fmla="*/ 336972 h 336971"/>
                  <a:gd name="connsiteX4" fmla="*/ 214492 w 303588"/>
                  <a:gd name="connsiteY4" fmla="*/ 336972 h 336971"/>
                  <a:gd name="connsiteX5" fmla="*/ 214492 w 303588"/>
                  <a:gd name="connsiteY5" fmla="*/ 170387 h 336971"/>
                  <a:gd name="connsiteX6" fmla="*/ 204466 w 303588"/>
                  <a:gd name="connsiteY6" fmla="*/ 99646 h 336971"/>
                  <a:gd name="connsiteX7" fmla="*/ 160552 w 303588"/>
                  <a:gd name="connsiteY7" fmla="*/ 76446 h 336971"/>
                  <a:gd name="connsiteX8" fmla="*/ 89097 w 303588"/>
                  <a:gd name="connsiteY8" fmla="*/ 118409 h 336971"/>
                  <a:gd name="connsiteX9" fmla="*/ 89097 w 303588"/>
                  <a:gd name="connsiteY9" fmla="*/ 336972 h 336971"/>
                  <a:gd name="connsiteX10" fmla="*/ 0 w 303588"/>
                  <a:gd name="connsiteY10" fmla="*/ 336972 h 336971"/>
                  <a:gd name="connsiteX11" fmla="*/ 0 w 303588"/>
                  <a:gd name="connsiteY11" fmla="*/ 7480 h 336971"/>
                  <a:gd name="connsiteX12" fmla="*/ 77166 w 303588"/>
                  <a:gd name="connsiteY12" fmla="*/ 7480 h 336971"/>
                  <a:gd name="connsiteX13" fmla="*/ 84020 w 303588"/>
                  <a:gd name="connsiteY13" fmla="*/ 52612 h 336971"/>
                  <a:gd name="connsiteX14" fmla="*/ 186189 w 303588"/>
                  <a:gd name="connsiteY14" fmla="*/ 0 h 3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3588" h="336971">
                    <a:moveTo>
                      <a:pt x="186316" y="0"/>
                    </a:moveTo>
                    <a:cubicBezTo>
                      <a:pt x="222107" y="0"/>
                      <a:pt x="253456" y="16861"/>
                      <a:pt x="274144" y="43231"/>
                    </a:cubicBezTo>
                    <a:cubicBezTo>
                      <a:pt x="299908" y="76446"/>
                      <a:pt x="303589" y="119043"/>
                      <a:pt x="303589" y="165950"/>
                    </a:cubicBezTo>
                    <a:lnTo>
                      <a:pt x="303589" y="336972"/>
                    </a:lnTo>
                    <a:lnTo>
                      <a:pt x="214492" y="336972"/>
                    </a:lnTo>
                    <a:lnTo>
                      <a:pt x="214492" y="170387"/>
                    </a:lnTo>
                    <a:cubicBezTo>
                      <a:pt x="214492" y="145920"/>
                      <a:pt x="213857" y="118409"/>
                      <a:pt x="204466" y="99646"/>
                    </a:cubicBezTo>
                    <a:cubicBezTo>
                      <a:pt x="196343" y="83419"/>
                      <a:pt x="179970" y="76446"/>
                      <a:pt x="160552" y="76446"/>
                    </a:cubicBezTo>
                    <a:cubicBezTo>
                      <a:pt x="134153" y="76446"/>
                      <a:pt x="105342" y="91533"/>
                      <a:pt x="89097" y="118409"/>
                    </a:cubicBezTo>
                    <a:lnTo>
                      <a:pt x="89097" y="336972"/>
                    </a:lnTo>
                    <a:lnTo>
                      <a:pt x="0" y="336972"/>
                    </a:lnTo>
                    <a:lnTo>
                      <a:pt x="0" y="7480"/>
                    </a:lnTo>
                    <a:lnTo>
                      <a:pt x="77166" y="7480"/>
                    </a:lnTo>
                    <a:lnTo>
                      <a:pt x="84020" y="52612"/>
                    </a:lnTo>
                    <a:cubicBezTo>
                      <a:pt x="110292" y="15593"/>
                      <a:pt x="149891" y="0"/>
                      <a:pt x="186189" y="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975F1FEE-3EF5-050E-2543-7297C8AB3F96}"/>
                  </a:ext>
                </a:extLst>
              </p:cNvPr>
              <p:cNvSpPr/>
              <p:nvPr/>
            </p:nvSpPr>
            <p:spPr>
              <a:xfrm>
                <a:off x="6450442" y="4569489"/>
                <a:ext cx="259548" cy="344578"/>
              </a:xfrm>
              <a:custGeom>
                <a:avLst/>
                <a:gdLst>
                  <a:gd name="connsiteX0" fmla="*/ 142910 w 259548"/>
                  <a:gd name="connsiteY0" fmla="*/ 69600 h 344578"/>
                  <a:gd name="connsiteX1" fmla="*/ 110927 w 259548"/>
                  <a:gd name="connsiteY1" fmla="*/ 94702 h 344578"/>
                  <a:gd name="connsiteX2" fmla="*/ 162963 w 259548"/>
                  <a:gd name="connsiteY2" fmla="*/ 137299 h 344578"/>
                  <a:gd name="connsiteX3" fmla="*/ 259548 w 259548"/>
                  <a:gd name="connsiteY3" fmla="*/ 238720 h 344578"/>
                  <a:gd name="connsiteX4" fmla="*/ 132884 w 259548"/>
                  <a:gd name="connsiteY4" fmla="*/ 344578 h 344578"/>
                  <a:gd name="connsiteX5" fmla="*/ 0 w 259548"/>
                  <a:gd name="connsiteY5" fmla="*/ 288163 h 344578"/>
                  <a:gd name="connsiteX6" fmla="*/ 50767 w 259548"/>
                  <a:gd name="connsiteY6" fmla="*/ 235551 h 344578"/>
                  <a:gd name="connsiteX7" fmla="*/ 128568 w 259548"/>
                  <a:gd name="connsiteY7" fmla="*/ 274344 h 344578"/>
                  <a:gd name="connsiteX8" fmla="*/ 170578 w 259548"/>
                  <a:gd name="connsiteY8" fmla="*/ 245566 h 344578"/>
                  <a:gd name="connsiteX9" fmla="*/ 107881 w 259548"/>
                  <a:gd name="connsiteY9" fmla="*/ 197898 h 344578"/>
                  <a:gd name="connsiteX10" fmla="*/ 25130 w 259548"/>
                  <a:gd name="connsiteY10" fmla="*/ 100787 h 344578"/>
                  <a:gd name="connsiteX11" fmla="*/ 143037 w 259548"/>
                  <a:gd name="connsiteY11" fmla="*/ 0 h 344578"/>
                  <a:gd name="connsiteX12" fmla="*/ 257137 w 259548"/>
                  <a:gd name="connsiteY12" fmla="*/ 43231 h 344578"/>
                  <a:gd name="connsiteX13" fmla="*/ 208273 w 259548"/>
                  <a:gd name="connsiteY13" fmla="*/ 97111 h 344578"/>
                  <a:gd name="connsiteX14" fmla="*/ 143037 w 259548"/>
                  <a:gd name="connsiteY14" fmla="*/ 69600 h 34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548" h="344578">
                    <a:moveTo>
                      <a:pt x="142910" y="69600"/>
                    </a:moveTo>
                    <a:cubicBezTo>
                      <a:pt x="126030" y="69600"/>
                      <a:pt x="110927" y="78982"/>
                      <a:pt x="110927" y="94702"/>
                    </a:cubicBezTo>
                    <a:cubicBezTo>
                      <a:pt x="110927" y="115367"/>
                      <a:pt x="135422" y="126016"/>
                      <a:pt x="162963" y="137299"/>
                    </a:cubicBezTo>
                    <a:cubicBezTo>
                      <a:pt x="205608" y="154794"/>
                      <a:pt x="259548" y="176092"/>
                      <a:pt x="259548" y="238720"/>
                    </a:cubicBezTo>
                    <a:cubicBezTo>
                      <a:pt x="259548" y="311363"/>
                      <a:pt x="196851" y="344578"/>
                      <a:pt x="132884" y="344578"/>
                    </a:cubicBezTo>
                    <a:cubicBezTo>
                      <a:pt x="81482" y="344578"/>
                      <a:pt x="36299" y="324548"/>
                      <a:pt x="0" y="288163"/>
                    </a:cubicBezTo>
                    <a:lnTo>
                      <a:pt x="50767" y="235551"/>
                    </a:lnTo>
                    <a:cubicBezTo>
                      <a:pt x="75897" y="260018"/>
                      <a:pt x="96585" y="274344"/>
                      <a:pt x="128568" y="274344"/>
                    </a:cubicBezTo>
                    <a:cubicBezTo>
                      <a:pt x="146718" y="274344"/>
                      <a:pt x="170578" y="265597"/>
                      <a:pt x="170578" y="245566"/>
                    </a:cubicBezTo>
                    <a:cubicBezTo>
                      <a:pt x="170578" y="222366"/>
                      <a:pt x="140499" y="212350"/>
                      <a:pt x="107881" y="197898"/>
                    </a:cubicBezTo>
                    <a:cubicBezTo>
                      <a:pt x="68409" y="181037"/>
                      <a:pt x="25130" y="158471"/>
                      <a:pt x="25130" y="100787"/>
                    </a:cubicBezTo>
                    <a:cubicBezTo>
                      <a:pt x="25130" y="33723"/>
                      <a:pt x="82878" y="0"/>
                      <a:pt x="143037" y="0"/>
                    </a:cubicBezTo>
                    <a:cubicBezTo>
                      <a:pt x="186951" y="0"/>
                      <a:pt x="226423" y="14453"/>
                      <a:pt x="257137" y="43231"/>
                    </a:cubicBezTo>
                    <a:lnTo>
                      <a:pt x="208273" y="97111"/>
                    </a:lnTo>
                    <a:cubicBezTo>
                      <a:pt x="191393" y="82024"/>
                      <a:pt x="168167" y="69600"/>
                      <a:pt x="143037" y="6960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1933E2E2-F616-008D-C7BB-2FDDF0F4A7C1}"/>
                  </a:ext>
                </a:extLst>
              </p:cNvPr>
              <p:cNvSpPr/>
              <p:nvPr/>
            </p:nvSpPr>
            <p:spPr>
              <a:xfrm>
                <a:off x="6747051" y="4577095"/>
                <a:ext cx="332526" cy="329491"/>
              </a:xfrm>
              <a:custGeom>
                <a:avLst/>
                <a:gdLst>
                  <a:gd name="connsiteX0" fmla="*/ 124126 w 332526"/>
                  <a:gd name="connsiteY0" fmla="*/ 329492 h 329491"/>
                  <a:gd name="connsiteX1" fmla="*/ 0 w 332526"/>
                  <a:gd name="connsiteY1" fmla="*/ 0 h 329491"/>
                  <a:gd name="connsiteX2" fmla="*/ 98489 w 332526"/>
                  <a:gd name="connsiteY2" fmla="*/ 0 h 329491"/>
                  <a:gd name="connsiteX3" fmla="*/ 164994 w 332526"/>
                  <a:gd name="connsiteY3" fmla="*/ 202969 h 329491"/>
                  <a:gd name="connsiteX4" fmla="*/ 166263 w 332526"/>
                  <a:gd name="connsiteY4" fmla="*/ 202969 h 329491"/>
                  <a:gd name="connsiteX5" fmla="*/ 233403 w 332526"/>
                  <a:gd name="connsiteY5" fmla="*/ 0 h 329491"/>
                  <a:gd name="connsiteX6" fmla="*/ 332527 w 332526"/>
                  <a:gd name="connsiteY6" fmla="*/ 0 h 329491"/>
                  <a:gd name="connsiteX7" fmla="*/ 197104 w 332526"/>
                  <a:gd name="connsiteY7" fmla="*/ 329492 h 329491"/>
                  <a:gd name="connsiteX8" fmla="*/ 124380 w 332526"/>
                  <a:gd name="connsiteY8" fmla="*/ 329492 h 329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2526" h="329491">
                    <a:moveTo>
                      <a:pt x="124126" y="329492"/>
                    </a:moveTo>
                    <a:lnTo>
                      <a:pt x="0" y="0"/>
                    </a:lnTo>
                    <a:lnTo>
                      <a:pt x="98489" y="0"/>
                    </a:lnTo>
                    <a:lnTo>
                      <a:pt x="164994" y="202969"/>
                    </a:lnTo>
                    <a:lnTo>
                      <a:pt x="166263" y="202969"/>
                    </a:lnTo>
                    <a:lnTo>
                      <a:pt x="233403" y="0"/>
                    </a:lnTo>
                    <a:lnTo>
                      <a:pt x="332527" y="0"/>
                    </a:lnTo>
                    <a:lnTo>
                      <a:pt x="197104" y="329492"/>
                    </a:lnTo>
                    <a:lnTo>
                      <a:pt x="124380" y="329492"/>
                    </a:ln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AAC0B057-301D-BCBA-FD7F-BF745A0DCEC8}"/>
                  </a:ext>
                </a:extLst>
              </p:cNvPr>
              <p:cNvSpPr/>
              <p:nvPr/>
            </p:nvSpPr>
            <p:spPr>
              <a:xfrm>
                <a:off x="7105595" y="4569616"/>
                <a:ext cx="326688" cy="344451"/>
              </a:xfrm>
              <a:custGeom>
                <a:avLst/>
                <a:gdLst>
                  <a:gd name="connsiteX0" fmla="*/ 173117 w 326688"/>
                  <a:gd name="connsiteY0" fmla="*/ 273076 h 344451"/>
                  <a:gd name="connsiteX1" fmla="*/ 259041 w 326688"/>
                  <a:gd name="connsiteY1" fmla="*/ 224267 h 344451"/>
                  <a:gd name="connsiteX2" fmla="*/ 317297 w 326688"/>
                  <a:gd name="connsiteY2" fmla="*/ 263695 h 344451"/>
                  <a:gd name="connsiteX3" fmla="*/ 166771 w 326688"/>
                  <a:gd name="connsiteY3" fmla="*/ 344452 h 344451"/>
                  <a:gd name="connsiteX4" fmla="*/ 0 w 326688"/>
                  <a:gd name="connsiteY4" fmla="*/ 175966 h 344451"/>
                  <a:gd name="connsiteX5" fmla="*/ 167406 w 326688"/>
                  <a:gd name="connsiteY5" fmla="*/ 0 h 344451"/>
                  <a:gd name="connsiteX6" fmla="*/ 326688 w 326688"/>
                  <a:gd name="connsiteY6" fmla="*/ 152259 h 344451"/>
                  <a:gd name="connsiteX7" fmla="*/ 322246 w 326688"/>
                  <a:gd name="connsiteY7" fmla="*/ 194221 h 344451"/>
                  <a:gd name="connsiteX8" fmla="*/ 90239 w 326688"/>
                  <a:gd name="connsiteY8" fmla="*/ 194221 h 344451"/>
                  <a:gd name="connsiteX9" fmla="*/ 172990 w 326688"/>
                  <a:gd name="connsiteY9" fmla="*/ 273203 h 344451"/>
                  <a:gd name="connsiteX10" fmla="*/ 169944 w 326688"/>
                  <a:gd name="connsiteY10" fmla="*/ 69473 h 344451"/>
                  <a:gd name="connsiteX11" fmla="*/ 94681 w 326688"/>
                  <a:gd name="connsiteY11" fmla="*/ 133369 h 344451"/>
                  <a:gd name="connsiteX12" fmla="*/ 235814 w 326688"/>
                  <a:gd name="connsiteY12" fmla="*/ 133369 h 344451"/>
                  <a:gd name="connsiteX13" fmla="*/ 169944 w 326688"/>
                  <a:gd name="connsiteY13" fmla="*/ 69473 h 34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6688" h="344451">
                    <a:moveTo>
                      <a:pt x="173117" y="273076"/>
                    </a:moveTo>
                    <a:cubicBezTo>
                      <a:pt x="215762" y="273076"/>
                      <a:pt x="237718" y="255581"/>
                      <a:pt x="259041" y="224267"/>
                    </a:cubicBezTo>
                    <a:lnTo>
                      <a:pt x="317297" y="263695"/>
                    </a:lnTo>
                    <a:cubicBezTo>
                      <a:pt x="279728" y="318209"/>
                      <a:pt x="237718" y="344452"/>
                      <a:pt x="166771" y="344452"/>
                    </a:cubicBezTo>
                    <a:cubicBezTo>
                      <a:pt x="67013" y="344452"/>
                      <a:pt x="0" y="274978"/>
                      <a:pt x="0" y="175966"/>
                    </a:cubicBezTo>
                    <a:cubicBezTo>
                      <a:pt x="0" y="76953"/>
                      <a:pt x="72724" y="0"/>
                      <a:pt x="167406" y="0"/>
                    </a:cubicBezTo>
                    <a:cubicBezTo>
                      <a:pt x="262087" y="0"/>
                      <a:pt x="326688" y="64529"/>
                      <a:pt x="326688" y="152259"/>
                    </a:cubicBezTo>
                    <a:cubicBezTo>
                      <a:pt x="326688" y="165443"/>
                      <a:pt x="324784" y="181037"/>
                      <a:pt x="322246" y="194221"/>
                    </a:cubicBezTo>
                    <a:lnTo>
                      <a:pt x="90239" y="194221"/>
                    </a:lnTo>
                    <a:cubicBezTo>
                      <a:pt x="96458" y="239354"/>
                      <a:pt x="126030" y="273203"/>
                      <a:pt x="172990" y="273203"/>
                    </a:cubicBezTo>
                    <a:close/>
                    <a:moveTo>
                      <a:pt x="169944" y="69473"/>
                    </a:moveTo>
                    <a:cubicBezTo>
                      <a:pt x="127299" y="69473"/>
                      <a:pt x="104073" y="96350"/>
                      <a:pt x="94681" y="133369"/>
                    </a:cubicBezTo>
                    <a:lnTo>
                      <a:pt x="235814" y="133369"/>
                    </a:lnTo>
                    <a:cubicBezTo>
                      <a:pt x="233911" y="93941"/>
                      <a:pt x="206370" y="69473"/>
                      <a:pt x="169944" y="69473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A6DC3921-4C6D-535A-7871-D71DBF8DA111}"/>
                  </a:ext>
                </a:extLst>
              </p:cNvPr>
              <p:cNvSpPr/>
              <p:nvPr/>
            </p:nvSpPr>
            <p:spPr>
              <a:xfrm>
                <a:off x="7503231" y="4569616"/>
                <a:ext cx="203831" cy="337098"/>
              </a:xfrm>
              <a:custGeom>
                <a:avLst/>
                <a:gdLst>
                  <a:gd name="connsiteX0" fmla="*/ 161187 w 203831"/>
                  <a:gd name="connsiteY0" fmla="*/ 0 h 337098"/>
                  <a:gd name="connsiteX1" fmla="*/ 203831 w 203831"/>
                  <a:gd name="connsiteY1" fmla="*/ 7480 h 337098"/>
                  <a:gd name="connsiteX2" fmla="*/ 182509 w 203831"/>
                  <a:gd name="connsiteY2" fmla="*/ 85194 h 337098"/>
                  <a:gd name="connsiteX3" fmla="*/ 151160 w 203831"/>
                  <a:gd name="connsiteY3" fmla="*/ 77714 h 337098"/>
                  <a:gd name="connsiteX4" fmla="*/ 89097 w 203831"/>
                  <a:gd name="connsiteY4" fmla="*/ 114099 h 337098"/>
                  <a:gd name="connsiteX5" fmla="*/ 89097 w 203831"/>
                  <a:gd name="connsiteY5" fmla="*/ 337098 h 337098"/>
                  <a:gd name="connsiteX6" fmla="*/ 0 w 203831"/>
                  <a:gd name="connsiteY6" fmla="*/ 337098 h 337098"/>
                  <a:gd name="connsiteX7" fmla="*/ 0 w 203831"/>
                  <a:gd name="connsiteY7" fmla="*/ 7607 h 337098"/>
                  <a:gd name="connsiteX8" fmla="*/ 77167 w 203831"/>
                  <a:gd name="connsiteY8" fmla="*/ 7607 h 337098"/>
                  <a:gd name="connsiteX9" fmla="*/ 84021 w 203831"/>
                  <a:gd name="connsiteY9" fmla="*/ 51471 h 337098"/>
                  <a:gd name="connsiteX10" fmla="*/ 161187 w 203831"/>
                  <a:gd name="connsiteY10" fmla="*/ 127 h 337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831" h="337098">
                    <a:moveTo>
                      <a:pt x="161187" y="0"/>
                    </a:moveTo>
                    <a:cubicBezTo>
                      <a:pt x="177433" y="0"/>
                      <a:pt x="191901" y="3169"/>
                      <a:pt x="203831" y="7480"/>
                    </a:cubicBezTo>
                    <a:lnTo>
                      <a:pt x="182509" y="85194"/>
                    </a:lnTo>
                    <a:cubicBezTo>
                      <a:pt x="173117" y="80123"/>
                      <a:pt x="162456" y="77714"/>
                      <a:pt x="151160" y="77714"/>
                    </a:cubicBezTo>
                    <a:cubicBezTo>
                      <a:pt x="125396" y="77714"/>
                      <a:pt x="102296" y="92166"/>
                      <a:pt x="89097" y="114099"/>
                    </a:cubicBezTo>
                    <a:lnTo>
                      <a:pt x="89097" y="337098"/>
                    </a:lnTo>
                    <a:lnTo>
                      <a:pt x="0" y="337098"/>
                    </a:lnTo>
                    <a:lnTo>
                      <a:pt x="0" y="7607"/>
                    </a:lnTo>
                    <a:lnTo>
                      <a:pt x="77167" y="7607"/>
                    </a:lnTo>
                    <a:lnTo>
                      <a:pt x="84021" y="51471"/>
                    </a:lnTo>
                    <a:cubicBezTo>
                      <a:pt x="102804" y="20791"/>
                      <a:pt x="128568" y="127"/>
                      <a:pt x="161187" y="127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1EA4F14-68F0-1183-A02C-C64E6BF1FEAA}"/>
                  </a:ext>
                </a:extLst>
              </p:cNvPr>
              <p:cNvSpPr/>
              <p:nvPr/>
            </p:nvSpPr>
            <p:spPr>
              <a:xfrm>
                <a:off x="7715185" y="4569489"/>
                <a:ext cx="259548" cy="344578"/>
              </a:xfrm>
              <a:custGeom>
                <a:avLst/>
                <a:gdLst>
                  <a:gd name="connsiteX0" fmla="*/ 142910 w 259548"/>
                  <a:gd name="connsiteY0" fmla="*/ 69600 h 344578"/>
                  <a:gd name="connsiteX1" fmla="*/ 110927 w 259548"/>
                  <a:gd name="connsiteY1" fmla="*/ 94702 h 344578"/>
                  <a:gd name="connsiteX2" fmla="*/ 162964 w 259548"/>
                  <a:gd name="connsiteY2" fmla="*/ 137299 h 344578"/>
                  <a:gd name="connsiteX3" fmla="*/ 259548 w 259548"/>
                  <a:gd name="connsiteY3" fmla="*/ 238720 h 344578"/>
                  <a:gd name="connsiteX4" fmla="*/ 132884 w 259548"/>
                  <a:gd name="connsiteY4" fmla="*/ 344578 h 344578"/>
                  <a:gd name="connsiteX5" fmla="*/ 0 w 259548"/>
                  <a:gd name="connsiteY5" fmla="*/ 288163 h 344578"/>
                  <a:gd name="connsiteX6" fmla="*/ 50767 w 259548"/>
                  <a:gd name="connsiteY6" fmla="*/ 235551 h 344578"/>
                  <a:gd name="connsiteX7" fmla="*/ 128568 w 259548"/>
                  <a:gd name="connsiteY7" fmla="*/ 274344 h 344578"/>
                  <a:gd name="connsiteX8" fmla="*/ 170578 w 259548"/>
                  <a:gd name="connsiteY8" fmla="*/ 245566 h 344578"/>
                  <a:gd name="connsiteX9" fmla="*/ 107881 w 259548"/>
                  <a:gd name="connsiteY9" fmla="*/ 197898 h 344578"/>
                  <a:gd name="connsiteX10" fmla="*/ 25130 w 259548"/>
                  <a:gd name="connsiteY10" fmla="*/ 100787 h 344578"/>
                  <a:gd name="connsiteX11" fmla="*/ 143037 w 259548"/>
                  <a:gd name="connsiteY11" fmla="*/ 0 h 344578"/>
                  <a:gd name="connsiteX12" fmla="*/ 257137 w 259548"/>
                  <a:gd name="connsiteY12" fmla="*/ 43231 h 344578"/>
                  <a:gd name="connsiteX13" fmla="*/ 208274 w 259548"/>
                  <a:gd name="connsiteY13" fmla="*/ 97111 h 344578"/>
                  <a:gd name="connsiteX14" fmla="*/ 143037 w 259548"/>
                  <a:gd name="connsiteY14" fmla="*/ 69600 h 34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548" h="344578">
                    <a:moveTo>
                      <a:pt x="142910" y="69600"/>
                    </a:moveTo>
                    <a:cubicBezTo>
                      <a:pt x="126030" y="69600"/>
                      <a:pt x="110927" y="78982"/>
                      <a:pt x="110927" y="94702"/>
                    </a:cubicBezTo>
                    <a:cubicBezTo>
                      <a:pt x="110927" y="115367"/>
                      <a:pt x="135423" y="126016"/>
                      <a:pt x="162964" y="137299"/>
                    </a:cubicBezTo>
                    <a:cubicBezTo>
                      <a:pt x="205608" y="154794"/>
                      <a:pt x="259548" y="176092"/>
                      <a:pt x="259548" y="238720"/>
                    </a:cubicBezTo>
                    <a:cubicBezTo>
                      <a:pt x="259548" y="311363"/>
                      <a:pt x="196851" y="344578"/>
                      <a:pt x="132884" y="344578"/>
                    </a:cubicBezTo>
                    <a:cubicBezTo>
                      <a:pt x="81482" y="344578"/>
                      <a:pt x="36299" y="324548"/>
                      <a:pt x="0" y="288163"/>
                    </a:cubicBezTo>
                    <a:lnTo>
                      <a:pt x="50767" y="235551"/>
                    </a:lnTo>
                    <a:cubicBezTo>
                      <a:pt x="75898" y="260018"/>
                      <a:pt x="96585" y="274344"/>
                      <a:pt x="128568" y="274344"/>
                    </a:cubicBezTo>
                    <a:cubicBezTo>
                      <a:pt x="146718" y="274344"/>
                      <a:pt x="170578" y="265597"/>
                      <a:pt x="170578" y="245566"/>
                    </a:cubicBezTo>
                    <a:cubicBezTo>
                      <a:pt x="170578" y="222366"/>
                      <a:pt x="140499" y="212350"/>
                      <a:pt x="107881" y="197898"/>
                    </a:cubicBezTo>
                    <a:cubicBezTo>
                      <a:pt x="68409" y="181037"/>
                      <a:pt x="25130" y="158471"/>
                      <a:pt x="25130" y="100787"/>
                    </a:cubicBezTo>
                    <a:cubicBezTo>
                      <a:pt x="25130" y="33723"/>
                      <a:pt x="82878" y="0"/>
                      <a:pt x="143037" y="0"/>
                    </a:cubicBezTo>
                    <a:cubicBezTo>
                      <a:pt x="186951" y="0"/>
                      <a:pt x="226423" y="14453"/>
                      <a:pt x="257137" y="43231"/>
                    </a:cubicBezTo>
                    <a:lnTo>
                      <a:pt x="208274" y="97111"/>
                    </a:lnTo>
                    <a:cubicBezTo>
                      <a:pt x="191393" y="82024"/>
                      <a:pt x="168167" y="69600"/>
                      <a:pt x="143037" y="6960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74F3808-B462-5E9A-7E7A-40CC92176DF8}"/>
                  </a:ext>
                </a:extLst>
              </p:cNvPr>
              <p:cNvSpPr/>
              <p:nvPr/>
            </p:nvSpPr>
            <p:spPr>
              <a:xfrm>
                <a:off x="8051773" y="4455517"/>
                <a:ext cx="89097" cy="450943"/>
              </a:xfrm>
              <a:custGeom>
                <a:avLst/>
                <a:gdLst>
                  <a:gd name="connsiteX0" fmla="*/ 89097 w 89097"/>
                  <a:gd name="connsiteY0" fmla="*/ 0 h 450943"/>
                  <a:gd name="connsiteX1" fmla="*/ 89097 w 89097"/>
                  <a:gd name="connsiteY1" fmla="*/ 75812 h 450943"/>
                  <a:gd name="connsiteX2" fmla="*/ 0 w 89097"/>
                  <a:gd name="connsiteY2" fmla="*/ 75812 h 450943"/>
                  <a:gd name="connsiteX3" fmla="*/ 0 w 89097"/>
                  <a:gd name="connsiteY3" fmla="*/ 0 h 450943"/>
                  <a:gd name="connsiteX4" fmla="*/ 89097 w 89097"/>
                  <a:gd name="connsiteY4" fmla="*/ 0 h 450943"/>
                  <a:gd name="connsiteX5" fmla="*/ 89097 w 89097"/>
                  <a:gd name="connsiteY5" fmla="*/ 121452 h 450943"/>
                  <a:gd name="connsiteX6" fmla="*/ 89097 w 89097"/>
                  <a:gd name="connsiteY6" fmla="*/ 450944 h 450943"/>
                  <a:gd name="connsiteX7" fmla="*/ 0 w 89097"/>
                  <a:gd name="connsiteY7" fmla="*/ 450944 h 450943"/>
                  <a:gd name="connsiteX8" fmla="*/ 0 w 89097"/>
                  <a:gd name="connsiteY8" fmla="*/ 121452 h 450943"/>
                  <a:gd name="connsiteX9" fmla="*/ 89097 w 89097"/>
                  <a:gd name="connsiteY9" fmla="*/ 121452 h 45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097" h="450943">
                    <a:moveTo>
                      <a:pt x="89097" y="0"/>
                    </a:moveTo>
                    <a:lnTo>
                      <a:pt x="89097" y="75812"/>
                    </a:lnTo>
                    <a:lnTo>
                      <a:pt x="0" y="75812"/>
                    </a:lnTo>
                    <a:lnTo>
                      <a:pt x="0" y="0"/>
                    </a:lnTo>
                    <a:lnTo>
                      <a:pt x="89097" y="0"/>
                    </a:lnTo>
                    <a:close/>
                    <a:moveTo>
                      <a:pt x="89097" y="121452"/>
                    </a:moveTo>
                    <a:lnTo>
                      <a:pt x="89097" y="450944"/>
                    </a:lnTo>
                    <a:lnTo>
                      <a:pt x="0" y="450944"/>
                    </a:lnTo>
                    <a:lnTo>
                      <a:pt x="0" y="121452"/>
                    </a:lnTo>
                    <a:lnTo>
                      <a:pt x="89097" y="121452"/>
                    </a:ln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FA6511B0-B674-9518-FEF4-629765D22EF4}"/>
                  </a:ext>
                </a:extLst>
              </p:cNvPr>
              <p:cNvSpPr/>
              <p:nvPr/>
            </p:nvSpPr>
            <p:spPr>
              <a:xfrm>
                <a:off x="8211182" y="4569489"/>
                <a:ext cx="285946" cy="344578"/>
              </a:xfrm>
              <a:custGeom>
                <a:avLst/>
                <a:gdLst>
                  <a:gd name="connsiteX0" fmla="*/ 167406 w 285946"/>
                  <a:gd name="connsiteY0" fmla="*/ 344578 h 344578"/>
                  <a:gd name="connsiteX1" fmla="*/ 0 w 285946"/>
                  <a:gd name="connsiteY1" fmla="*/ 172289 h 344578"/>
                  <a:gd name="connsiteX2" fmla="*/ 169944 w 285946"/>
                  <a:gd name="connsiteY2" fmla="*/ 0 h 344578"/>
                  <a:gd name="connsiteX3" fmla="*/ 285947 w 285946"/>
                  <a:gd name="connsiteY3" fmla="*/ 40695 h 344578"/>
                  <a:gd name="connsiteX4" fmla="*/ 240130 w 285946"/>
                  <a:gd name="connsiteY4" fmla="*/ 102689 h 344578"/>
                  <a:gd name="connsiteX5" fmla="*/ 176163 w 285946"/>
                  <a:gd name="connsiteY5" fmla="*/ 76319 h 344578"/>
                  <a:gd name="connsiteX6" fmla="*/ 90873 w 285946"/>
                  <a:gd name="connsiteY6" fmla="*/ 172162 h 344578"/>
                  <a:gd name="connsiteX7" fmla="*/ 174893 w 285946"/>
                  <a:gd name="connsiteY7" fmla="*/ 268005 h 344578"/>
                  <a:gd name="connsiteX8" fmla="*/ 238226 w 285946"/>
                  <a:gd name="connsiteY8" fmla="*/ 242904 h 344578"/>
                  <a:gd name="connsiteX9" fmla="*/ 285821 w 285946"/>
                  <a:gd name="connsiteY9" fmla="*/ 303629 h 344578"/>
                  <a:gd name="connsiteX10" fmla="*/ 167278 w 285946"/>
                  <a:gd name="connsiteY10" fmla="*/ 344325 h 34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5946" h="344578">
                    <a:moveTo>
                      <a:pt x="167406" y="344578"/>
                    </a:moveTo>
                    <a:cubicBezTo>
                      <a:pt x="70186" y="344578"/>
                      <a:pt x="0" y="274471"/>
                      <a:pt x="0" y="172289"/>
                    </a:cubicBezTo>
                    <a:cubicBezTo>
                      <a:pt x="0" y="76446"/>
                      <a:pt x="69551" y="0"/>
                      <a:pt x="169944" y="0"/>
                    </a:cubicBezTo>
                    <a:cubicBezTo>
                      <a:pt x="215127" y="0"/>
                      <a:pt x="253330" y="13819"/>
                      <a:pt x="285947" y="40695"/>
                    </a:cubicBezTo>
                    <a:lnTo>
                      <a:pt x="240130" y="102689"/>
                    </a:lnTo>
                    <a:cubicBezTo>
                      <a:pt x="221980" y="85828"/>
                      <a:pt x="201927" y="76319"/>
                      <a:pt x="176163" y="76319"/>
                    </a:cubicBezTo>
                    <a:cubicBezTo>
                      <a:pt x="126030" y="76319"/>
                      <a:pt x="90873" y="119550"/>
                      <a:pt x="90873" y="172162"/>
                    </a:cubicBezTo>
                    <a:cubicBezTo>
                      <a:pt x="90873" y="224775"/>
                      <a:pt x="127934" y="268005"/>
                      <a:pt x="174893" y="268005"/>
                    </a:cubicBezTo>
                    <a:cubicBezTo>
                      <a:pt x="199389" y="268005"/>
                      <a:pt x="219442" y="261159"/>
                      <a:pt x="238226" y="242904"/>
                    </a:cubicBezTo>
                    <a:lnTo>
                      <a:pt x="285821" y="303629"/>
                    </a:lnTo>
                    <a:cubicBezTo>
                      <a:pt x="253203" y="332408"/>
                      <a:pt x="214366" y="344325"/>
                      <a:pt x="167278" y="344325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82D864B0-E660-2229-3C61-F956AE31FE67}"/>
                  </a:ext>
                </a:extLst>
              </p:cNvPr>
              <p:cNvSpPr/>
              <p:nvPr/>
            </p:nvSpPr>
            <p:spPr>
              <a:xfrm>
                <a:off x="8560335" y="4436754"/>
                <a:ext cx="303588" cy="469833"/>
              </a:xfrm>
              <a:custGeom>
                <a:avLst/>
                <a:gdLst>
                  <a:gd name="connsiteX0" fmla="*/ 186316 w 303588"/>
                  <a:gd name="connsiteY0" fmla="*/ 132862 h 469833"/>
                  <a:gd name="connsiteX1" fmla="*/ 274144 w 303588"/>
                  <a:gd name="connsiteY1" fmla="*/ 176092 h 469833"/>
                  <a:gd name="connsiteX2" fmla="*/ 303589 w 303588"/>
                  <a:gd name="connsiteY2" fmla="*/ 298812 h 469833"/>
                  <a:gd name="connsiteX3" fmla="*/ 303589 w 303588"/>
                  <a:gd name="connsiteY3" fmla="*/ 469833 h 469833"/>
                  <a:gd name="connsiteX4" fmla="*/ 214492 w 303588"/>
                  <a:gd name="connsiteY4" fmla="*/ 469833 h 469833"/>
                  <a:gd name="connsiteX5" fmla="*/ 214492 w 303588"/>
                  <a:gd name="connsiteY5" fmla="*/ 303249 h 469833"/>
                  <a:gd name="connsiteX6" fmla="*/ 204466 w 303588"/>
                  <a:gd name="connsiteY6" fmla="*/ 232508 h 469833"/>
                  <a:gd name="connsiteX7" fmla="*/ 160551 w 303588"/>
                  <a:gd name="connsiteY7" fmla="*/ 209308 h 469833"/>
                  <a:gd name="connsiteX8" fmla="*/ 89096 w 303588"/>
                  <a:gd name="connsiteY8" fmla="*/ 251271 h 469833"/>
                  <a:gd name="connsiteX9" fmla="*/ 89096 w 303588"/>
                  <a:gd name="connsiteY9" fmla="*/ 469833 h 469833"/>
                  <a:gd name="connsiteX10" fmla="*/ 0 w 303588"/>
                  <a:gd name="connsiteY10" fmla="*/ 469833 h 469833"/>
                  <a:gd name="connsiteX11" fmla="*/ 0 w 303588"/>
                  <a:gd name="connsiteY11" fmla="*/ 0 h 469833"/>
                  <a:gd name="connsiteX12" fmla="*/ 89096 w 303588"/>
                  <a:gd name="connsiteY12" fmla="*/ 0 h 469833"/>
                  <a:gd name="connsiteX13" fmla="*/ 89096 w 303588"/>
                  <a:gd name="connsiteY13" fmla="*/ 179135 h 469833"/>
                  <a:gd name="connsiteX14" fmla="*/ 186316 w 303588"/>
                  <a:gd name="connsiteY14" fmla="*/ 132735 h 469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3588" h="469833">
                    <a:moveTo>
                      <a:pt x="186316" y="132862"/>
                    </a:moveTo>
                    <a:cubicBezTo>
                      <a:pt x="222107" y="132862"/>
                      <a:pt x="253456" y="149723"/>
                      <a:pt x="274144" y="176092"/>
                    </a:cubicBezTo>
                    <a:cubicBezTo>
                      <a:pt x="299908" y="209308"/>
                      <a:pt x="303589" y="251905"/>
                      <a:pt x="303589" y="298812"/>
                    </a:cubicBezTo>
                    <a:lnTo>
                      <a:pt x="303589" y="469833"/>
                    </a:lnTo>
                    <a:lnTo>
                      <a:pt x="214492" y="469833"/>
                    </a:lnTo>
                    <a:lnTo>
                      <a:pt x="214492" y="303249"/>
                    </a:lnTo>
                    <a:cubicBezTo>
                      <a:pt x="214492" y="278781"/>
                      <a:pt x="213857" y="251271"/>
                      <a:pt x="204466" y="232508"/>
                    </a:cubicBezTo>
                    <a:cubicBezTo>
                      <a:pt x="196343" y="216281"/>
                      <a:pt x="179970" y="209308"/>
                      <a:pt x="160551" y="209308"/>
                    </a:cubicBezTo>
                    <a:cubicBezTo>
                      <a:pt x="134153" y="209308"/>
                      <a:pt x="105342" y="224394"/>
                      <a:pt x="89096" y="251271"/>
                    </a:cubicBezTo>
                    <a:lnTo>
                      <a:pt x="89096" y="469833"/>
                    </a:lnTo>
                    <a:lnTo>
                      <a:pt x="0" y="469833"/>
                    </a:lnTo>
                    <a:lnTo>
                      <a:pt x="0" y="0"/>
                    </a:lnTo>
                    <a:lnTo>
                      <a:pt x="89096" y="0"/>
                    </a:lnTo>
                    <a:lnTo>
                      <a:pt x="89096" y="179135"/>
                    </a:lnTo>
                    <a:cubicBezTo>
                      <a:pt x="115496" y="147187"/>
                      <a:pt x="152429" y="132735"/>
                      <a:pt x="186316" y="132735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30E0C6CA-A317-3EFA-8630-BC7C5B98F7C0}"/>
                  </a:ext>
                </a:extLst>
              </p:cNvPr>
              <p:cNvSpPr/>
              <p:nvPr/>
            </p:nvSpPr>
            <p:spPr>
              <a:xfrm>
                <a:off x="8931445" y="4569616"/>
                <a:ext cx="326688" cy="344451"/>
              </a:xfrm>
              <a:custGeom>
                <a:avLst/>
                <a:gdLst>
                  <a:gd name="connsiteX0" fmla="*/ 173117 w 326688"/>
                  <a:gd name="connsiteY0" fmla="*/ 273076 h 344451"/>
                  <a:gd name="connsiteX1" fmla="*/ 259040 w 326688"/>
                  <a:gd name="connsiteY1" fmla="*/ 224267 h 344451"/>
                  <a:gd name="connsiteX2" fmla="*/ 317296 w 326688"/>
                  <a:gd name="connsiteY2" fmla="*/ 263695 h 344451"/>
                  <a:gd name="connsiteX3" fmla="*/ 166771 w 326688"/>
                  <a:gd name="connsiteY3" fmla="*/ 344452 h 344451"/>
                  <a:gd name="connsiteX4" fmla="*/ 0 w 326688"/>
                  <a:gd name="connsiteY4" fmla="*/ 175966 h 344451"/>
                  <a:gd name="connsiteX5" fmla="*/ 167406 w 326688"/>
                  <a:gd name="connsiteY5" fmla="*/ 0 h 344451"/>
                  <a:gd name="connsiteX6" fmla="*/ 326688 w 326688"/>
                  <a:gd name="connsiteY6" fmla="*/ 152259 h 344451"/>
                  <a:gd name="connsiteX7" fmla="*/ 322246 w 326688"/>
                  <a:gd name="connsiteY7" fmla="*/ 194221 h 344451"/>
                  <a:gd name="connsiteX8" fmla="*/ 90239 w 326688"/>
                  <a:gd name="connsiteY8" fmla="*/ 194221 h 344451"/>
                  <a:gd name="connsiteX9" fmla="*/ 172990 w 326688"/>
                  <a:gd name="connsiteY9" fmla="*/ 273203 h 344451"/>
                  <a:gd name="connsiteX10" fmla="*/ 169944 w 326688"/>
                  <a:gd name="connsiteY10" fmla="*/ 69473 h 344451"/>
                  <a:gd name="connsiteX11" fmla="*/ 94681 w 326688"/>
                  <a:gd name="connsiteY11" fmla="*/ 133369 h 344451"/>
                  <a:gd name="connsiteX12" fmla="*/ 235815 w 326688"/>
                  <a:gd name="connsiteY12" fmla="*/ 133369 h 344451"/>
                  <a:gd name="connsiteX13" fmla="*/ 169944 w 326688"/>
                  <a:gd name="connsiteY13" fmla="*/ 69473 h 34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6688" h="344451">
                    <a:moveTo>
                      <a:pt x="173117" y="273076"/>
                    </a:moveTo>
                    <a:cubicBezTo>
                      <a:pt x="215761" y="273076"/>
                      <a:pt x="237718" y="255581"/>
                      <a:pt x="259040" y="224267"/>
                    </a:cubicBezTo>
                    <a:lnTo>
                      <a:pt x="317296" y="263695"/>
                    </a:lnTo>
                    <a:cubicBezTo>
                      <a:pt x="279728" y="318209"/>
                      <a:pt x="237718" y="344452"/>
                      <a:pt x="166771" y="344452"/>
                    </a:cubicBezTo>
                    <a:cubicBezTo>
                      <a:pt x="67013" y="344452"/>
                      <a:pt x="0" y="274978"/>
                      <a:pt x="0" y="175966"/>
                    </a:cubicBezTo>
                    <a:cubicBezTo>
                      <a:pt x="0" y="76953"/>
                      <a:pt x="72724" y="0"/>
                      <a:pt x="167406" y="0"/>
                    </a:cubicBezTo>
                    <a:cubicBezTo>
                      <a:pt x="262087" y="0"/>
                      <a:pt x="326688" y="64529"/>
                      <a:pt x="326688" y="152259"/>
                    </a:cubicBezTo>
                    <a:cubicBezTo>
                      <a:pt x="326688" y="165443"/>
                      <a:pt x="324785" y="181037"/>
                      <a:pt x="322246" y="194221"/>
                    </a:cubicBezTo>
                    <a:lnTo>
                      <a:pt x="90239" y="194221"/>
                    </a:lnTo>
                    <a:cubicBezTo>
                      <a:pt x="96458" y="239354"/>
                      <a:pt x="126030" y="273203"/>
                      <a:pt x="172990" y="273203"/>
                    </a:cubicBezTo>
                    <a:close/>
                    <a:moveTo>
                      <a:pt x="169944" y="69473"/>
                    </a:moveTo>
                    <a:cubicBezTo>
                      <a:pt x="127299" y="69473"/>
                      <a:pt x="104073" y="96350"/>
                      <a:pt x="94681" y="133369"/>
                    </a:cubicBezTo>
                    <a:lnTo>
                      <a:pt x="235815" y="133369"/>
                    </a:lnTo>
                    <a:cubicBezTo>
                      <a:pt x="233911" y="93941"/>
                      <a:pt x="206370" y="69473"/>
                      <a:pt x="169944" y="69473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4C077261-C7F1-7927-E9B0-C01D80636BF2}"/>
                  </a:ext>
                </a:extLst>
              </p:cNvPr>
              <p:cNvSpPr/>
              <p:nvPr/>
            </p:nvSpPr>
            <p:spPr>
              <a:xfrm>
                <a:off x="9329081" y="4569616"/>
                <a:ext cx="203831" cy="337098"/>
              </a:xfrm>
              <a:custGeom>
                <a:avLst/>
                <a:gdLst>
                  <a:gd name="connsiteX0" fmla="*/ 161186 w 203831"/>
                  <a:gd name="connsiteY0" fmla="*/ 0 h 337098"/>
                  <a:gd name="connsiteX1" fmla="*/ 203831 w 203831"/>
                  <a:gd name="connsiteY1" fmla="*/ 7480 h 337098"/>
                  <a:gd name="connsiteX2" fmla="*/ 182509 w 203831"/>
                  <a:gd name="connsiteY2" fmla="*/ 85194 h 337098"/>
                  <a:gd name="connsiteX3" fmla="*/ 151160 w 203831"/>
                  <a:gd name="connsiteY3" fmla="*/ 77714 h 337098"/>
                  <a:gd name="connsiteX4" fmla="*/ 89096 w 203831"/>
                  <a:gd name="connsiteY4" fmla="*/ 114099 h 337098"/>
                  <a:gd name="connsiteX5" fmla="*/ 89096 w 203831"/>
                  <a:gd name="connsiteY5" fmla="*/ 337098 h 337098"/>
                  <a:gd name="connsiteX6" fmla="*/ 0 w 203831"/>
                  <a:gd name="connsiteY6" fmla="*/ 337098 h 337098"/>
                  <a:gd name="connsiteX7" fmla="*/ 0 w 203831"/>
                  <a:gd name="connsiteY7" fmla="*/ 7607 h 337098"/>
                  <a:gd name="connsiteX8" fmla="*/ 77166 w 203831"/>
                  <a:gd name="connsiteY8" fmla="*/ 7607 h 337098"/>
                  <a:gd name="connsiteX9" fmla="*/ 84020 w 203831"/>
                  <a:gd name="connsiteY9" fmla="*/ 51471 h 337098"/>
                  <a:gd name="connsiteX10" fmla="*/ 161186 w 203831"/>
                  <a:gd name="connsiteY10" fmla="*/ 127 h 337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831" h="337098">
                    <a:moveTo>
                      <a:pt x="161186" y="0"/>
                    </a:moveTo>
                    <a:cubicBezTo>
                      <a:pt x="177432" y="0"/>
                      <a:pt x="191901" y="3169"/>
                      <a:pt x="203831" y="7480"/>
                    </a:cubicBezTo>
                    <a:lnTo>
                      <a:pt x="182509" y="85194"/>
                    </a:lnTo>
                    <a:cubicBezTo>
                      <a:pt x="173116" y="80123"/>
                      <a:pt x="162456" y="77714"/>
                      <a:pt x="151160" y="77714"/>
                    </a:cubicBezTo>
                    <a:cubicBezTo>
                      <a:pt x="125396" y="77714"/>
                      <a:pt x="102296" y="92166"/>
                      <a:pt x="89096" y="114099"/>
                    </a:cubicBezTo>
                    <a:lnTo>
                      <a:pt x="89096" y="337098"/>
                    </a:lnTo>
                    <a:lnTo>
                      <a:pt x="0" y="337098"/>
                    </a:lnTo>
                    <a:lnTo>
                      <a:pt x="0" y="7607"/>
                    </a:lnTo>
                    <a:lnTo>
                      <a:pt x="77166" y="7607"/>
                    </a:lnTo>
                    <a:lnTo>
                      <a:pt x="84020" y="51471"/>
                    </a:lnTo>
                    <a:cubicBezTo>
                      <a:pt x="102804" y="20791"/>
                      <a:pt x="128568" y="127"/>
                      <a:pt x="161186" y="127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967FA6B5-366E-16D4-B3DA-52B7ADCD7555}"/>
                  </a:ext>
                </a:extLst>
              </p:cNvPr>
              <p:cNvSpPr/>
              <p:nvPr/>
            </p:nvSpPr>
            <p:spPr>
              <a:xfrm>
                <a:off x="9567306" y="4577095"/>
                <a:ext cx="303589" cy="336971"/>
              </a:xfrm>
              <a:custGeom>
                <a:avLst/>
                <a:gdLst>
                  <a:gd name="connsiteX0" fmla="*/ 117273 w 303589"/>
                  <a:gd name="connsiteY0" fmla="*/ 336972 h 336971"/>
                  <a:gd name="connsiteX1" fmla="*/ 29445 w 303589"/>
                  <a:gd name="connsiteY1" fmla="*/ 293741 h 336971"/>
                  <a:gd name="connsiteX2" fmla="*/ 0 w 303589"/>
                  <a:gd name="connsiteY2" fmla="*/ 171021 h 336971"/>
                  <a:gd name="connsiteX3" fmla="*/ 0 w 303589"/>
                  <a:gd name="connsiteY3" fmla="*/ 0 h 336971"/>
                  <a:gd name="connsiteX4" fmla="*/ 89097 w 303589"/>
                  <a:gd name="connsiteY4" fmla="*/ 0 h 336971"/>
                  <a:gd name="connsiteX5" fmla="*/ 89097 w 303589"/>
                  <a:gd name="connsiteY5" fmla="*/ 166584 h 336971"/>
                  <a:gd name="connsiteX6" fmla="*/ 99123 w 303589"/>
                  <a:gd name="connsiteY6" fmla="*/ 237325 h 336971"/>
                  <a:gd name="connsiteX7" fmla="*/ 143037 w 303589"/>
                  <a:gd name="connsiteY7" fmla="*/ 260526 h 336971"/>
                  <a:gd name="connsiteX8" fmla="*/ 214493 w 303589"/>
                  <a:gd name="connsiteY8" fmla="*/ 218563 h 336971"/>
                  <a:gd name="connsiteX9" fmla="*/ 214493 w 303589"/>
                  <a:gd name="connsiteY9" fmla="*/ 0 h 336971"/>
                  <a:gd name="connsiteX10" fmla="*/ 303590 w 303589"/>
                  <a:gd name="connsiteY10" fmla="*/ 0 h 336971"/>
                  <a:gd name="connsiteX11" fmla="*/ 303590 w 303589"/>
                  <a:gd name="connsiteY11" fmla="*/ 329492 h 336971"/>
                  <a:gd name="connsiteX12" fmla="*/ 226423 w 303589"/>
                  <a:gd name="connsiteY12" fmla="*/ 329492 h 336971"/>
                  <a:gd name="connsiteX13" fmla="*/ 219570 w 303589"/>
                  <a:gd name="connsiteY13" fmla="*/ 284360 h 336971"/>
                  <a:gd name="connsiteX14" fmla="*/ 117400 w 303589"/>
                  <a:gd name="connsiteY14" fmla="*/ 336972 h 3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3589" h="336971">
                    <a:moveTo>
                      <a:pt x="117273" y="336972"/>
                    </a:moveTo>
                    <a:cubicBezTo>
                      <a:pt x="81482" y="336972"/>
                      <a:pt x="50133" y="320110"/>
                      <a:pt x="29445" y="293741"/>
                    </a:cubicBezTo>
                    <a:cubicBezTo>
                      <a:pt x="3681" y="260526"/>
                      <a:pt x="0" y="217929"/>
                      <a:pt x="0" y="171021"/>
                    </a:cubicBezTo>
                    <a:lnTo>
                      <a:pt x="0" y="0"/>
                    </a:lnTo>
                    <a:lnTo>
                      <a:pt x="89097" y="0"/>
                    </a:lnTo>
                    <a:lnTo>
                      <a:pt x="89097" y="166584"/>
                    </a:lnTo>
                    <a:cubicBezTo>
                      <a:pt x="89097" y="191052"/>
                      <a:pt x="89731" y="218563"/>
                      <a:pt x="99123" y="237325"/>
                    </a:cubicBezTo>
                    <a:cubicBezTo>
                      <a:pt x="107246" y="253553"/>
                      <a:pt x="123619" y="260526"/>
                      <a:pt x="143037" y="260526"/>
                    </a:cubicBezTo>
                    <a:cubicBezTo>
                      <a:pt x="169437" y="260526"/>
                      <a:pt x="198247" y="245439"/>
                      <a:pt x="214493" y="218563"/>
                    </a:cubicBezTo>
                    <a:lnTo>
                      <a:pt x="214493" y="0"/>
                    </a:lnTo>
                    <a:lnTo>
                      <a:pt x="303590" y="0"/>
                    </a:lnTo>
                    <a:lnTo>
                      <a:pt x="303590" y="329492"/>
                    </a:lnTo>
                    <a:lnTo>
                      <a:pt x="226423" y="329492"/>
                    </a:lnTo>
                    <a:lnTo>
                      <a:pt x="219570" y="284360"/>
                    </a:lnTo>
                    <a:cubicBezTo>
                      <a:pt x="193170" y="321378"/>
                      <a:pt x="153699" y="336972"/>
                      <a:pt x="117400" y="336972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5CE2F90-BE2A-482C-D63C-5828205199E1}"/>
                  </a:ext>
                </a:extLst>
              </p:cNvPr>
              <p:cNvSpPr/>
              <p:nvPr/>
            </p:nvSpPr>
            <p:spPr>
              <a:xfrm>
                <a:off x="9963546" y="4569616"/>
                <a:ext cx="303588" cy="336971"/>
              </a:xfrm>
              <a:custGeom>
                <a:avLst/>
                <a:gdLst>
                  <a:gd name="connsiteX0" fmla="*/ 186316 w 303588"/>
                  <a:gd name="connsiteY0" fmla="*/ 0 h 336971"/>
                  <a:gd name="connsiteX1" fmla="*/ 274144 w 303588"/>
                  <a:gd name="connsiteY1" fmla="*/ 43231 h 336971"/>
                  <a:gd name="connsiteX2" fmla="*/ 303589 w 303588"/>
                  <a:gd name="connsiteY2" fmla="*/ 165950 h 336971"/>
                  <a:gd name="connsiteX3" fmla="*/ 303589 w 303588"/>
                  <a:gd name="connsiteY3" fmla="*/ 336972 h 336971"/>
                  <a:gd name="connsiteX4" fmla="*/ 214492 w 303588"/>
                  <a:gd name="connsiteY4" fmla="*/ 336972 h 336971"/>
                  <a:gd name="connsiteX5" fmla="*/ 214492 w 303588"/>
                  <a:gd name="connsiteY5" fmla="*/ 170387 h 336971"/>
                  <a:gd name="connsiteX6" fmla="*/ 204466 w 303588"/>
                  <a:gd name="connsiteY6" fmla="*/ 99646 h 336971"/>
                  <a:gd name="connsiteX7" fmla="*/ 160551 w 303588"/>
                  <a:gd name="connsiteY7" fmla="*/ 76446 h 336971"/>
                  <a:gd name="connsiteX8" fmla="*/ 89097 w 303588"/>
                  <a:gd name="connsiteY8" fmla="*/ 118409 h 336971"/>
                  <a:gd name="connsiteX9" fmla="*/ 89097 w 303588"/>
                  <a:gd name="connsiteY9" fmla="*/ 336972 h 336971"/>
                  <a:gd name="connsiteX10" fmla="*/ 0 w 303588"/>
                  <a:gd name="connsiteY10" fmla="*/ 336972 h 336971"/>
                  <a:gd name="connsiteX11" fmla="*/ 0 w 303588"/>
                  <a:gd name="connsiteY11" fmla="*/ 7480 h 336971"/>
                  <a:gd name="connsiteX12" fmla="*/ 77167 w 303588"/>
                  <a:gd name="connsiteY12" fmla="*/ 7480 h 336971"/>
                  <a:gd name="connsiteX13" fmla="*/ 84020 w 303588"/>
                  <a:gd name="connsiteY13" fmla="*/ 52612 h 336971"/>
                  <a:gd name="connsiteX14" fmla="*/ 186189 w 303588"/>
                  <a:gd name="connsiteY14" fmla="*/ 0 h 336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3588" h="336971">
                    <a:moveTo>
                      <a:pt x="186316" y="0"/>
                    </a:moveTo>
                    <a:cubicBezTo>
                      <a:pt x="222107" y="0"/>
                      <a:pt x="253456" y="16861"/>
                      <a:pt x="274144" y="43231"/>
                    </a:cubicBezTo>
                    <a:cubicBezTo>
                      <a:pt x="299908" y="76446"/>
                      <a:pt x="303589" y="119043"/>
                      <a:pt x="303589" y="165950"/>
                    </a:cubicBezTo>
                    <a:lnTo>
                      <a:pt x="303589" y="336972"/>
                    </a:lnTo>
                    <a:lnTo>
                      <a:pt x="214492" y="336972"/>
                    </a:lnTo>
                    <a:lnTo>
                      <a:pt x="214492" y="170387"/>
                    </a:lnTo>
                    <a:cubicBezTo>
                      <a:pt x="214492" y="145920"/>
                      <a:pt x="213857" y="118409"/>
                      <a:pt x="204466" y="99646"/>
                    </a:cubicBezTo>
                    <a:cubicBezTo>
                      <a:pt x="196343" y="83419"/>
                      <a:pt x="179970" y="76446"/>
                      <a:pt x="160551" y="76446"/>
                    </a:cubicBezTo>
                    <a:cubicBezTo>
                      <a:pt x="134153" y="76446"/>
                      <a:pt x="105342" y="91533"/>
                      <a:pt x="89097" y="118409"/>
                    </a:cubicBezTo>
                    <a:lnTo>
                      <a:pt x="89097" y="336972"/>
                    </a:lnTo>
                    <a:lnTo>
                      <a:pt x="0" y="336972"/>
                    </a:lnTo>
                    <a:lnTo>
                      <a:pt x="0" y="7480"/>
                    </a:lnTo>
                    <a:lnTo>
                      <a:pt x="77167" y="7480"/>
                    </a:lnTo>
                    <a:lnTo>
                      <a:pt x="84020" y="52612"/>
                    </a:lnTo>
                    <a:cubicBezTo>
                      <a:pt x="110292" y="15593"/>
                      <a:pt x="149891" y="0"/>
                      <a:pt x="186189" y="0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754CB01-43EF-4F3C-702C-FF48885E77C9}"/>
                  </a:ext>
                </a:extLst>
              </p:cNvPr>
              <p:cNvSpPr/>
              <p:nvPr/>
            </p:nvSpPr>
            <p:spPr>
              <a:xfrm>
                <a:off x="10334783" y="4569489"/>
                <a:ext cx="339887" cy="479214"/>
              </a:xfrm>
              <a:custGeom>
                <a:avLst/>
                <a:gdLst>
                  <a:gd name="connsiteX0" fmla="*/ 319200 w 339887"/>
                  <a:gd name="connsiteY0" fmla="*/ 407206 h 479214"/>
                  <a:gd name="connsiteX1" fmla="*/ 173751 w 339887"/>
                  <a:gd name="connsiteY1" fmla="*/ 479215 h 479214"/>
                  <a:gd name="connsiteX2" fmla="*/ 21322 w 339887"/>
                  <a:gd name="connsiteY2" fmla="*/ 434082 h 479214"/>
                  <a:gd name="connsiteX3" fmla="*/ 53940 w 339887"/>
                  <a:gd name="connsiteY3" fmla="*/ 360806 h 479214"/>
                  <a:gd name="connsiteX4" fmla="*/ 170578 w 339887"/>
                  <a:gd name="connsiteY4" fmla="*/ 402769 h 479214"/>
                  <a:gd name="connsiteX5" fmla="*/ 250791 w 339887"/>
                  <a:gd name="connsiteY5" fmla="*/ 325055 h 479214"/>
                  <a:gd name="connsiteX6" fmla="*/ 250791 w 339887"/>
                  <a:gd name="connsiteY6" fmla="*/ 295009 h 479214"/>
                  <a:gd name="connsiteX7" fmla="*/ 153571 w 339887"/>
                  <a:gd name="connsiteY7" fmla="*/ 336972 h 479214"/>
                  <a:gd name="connsiteX8" fmla="*/ 0 w 339887"/>
                  <a:gd name="connsiteY8" fmla="*/ 167218 h 479214"/>
                  <a:gd name="connsiteX9" fmla="*/ 154841 w 339887"/>
                  <a:gd name="connsiteY9" fmla="*/ 0 h 479214"/>
                  <a:gd name="connsiteX10" fmla="*/ 255233 w 339887"/>
                  <a:gd name="connsiteY10" fmla="*/ 46400 h 479214"/>
                  <a:gd name="connsiteX11" fmla="*/ 262721 w 339887"/>
                  <a:gd name="connsiteY11" fmla="*/ 7607 h 479214"/>
                  <a:gd name="connsiteX12" fmla="*/ 339887 w 339887"/>
                  <a:gd name="connsiteY12" fmla="*/ 7607 h 479214"/>
                  <a:gd name="connsiteX13" fmla="*/ 339887 w 339887"/>
                  <a:gd name="connsiteY13" fmla="*/ 319603 h 479214"/>
                  <a:gd name="connsiteX14" fmla="*/ 319200 w 339887"/>
                  <a:gd name="connsiteY14" fmla="*/ 407333 h 479214"/>
                  <a:gd name="connsiteX15" fmla="*/ 174386 w 339887"/>
                  <a:gd name="connsiteY15" fmla="*/ 76446 h 479214"/>
                  <a:gd name="connsiteX16" fmla="*/ 91000 w 339887"/>
                  <a:gd name="connsiteY16" fmla="*/ 169754 h 479214"/>
                  <a:gd name="connsiteX17" fmla="*/ 173117 w 339887"/>
                  <a:gd name="connsiteY17" fmla="*/ 260526 h 479214"/>
                  <a:gd name="connsiteX18" fmla="*/ 250918 w 339887"/>
                  <a:gd name="connsiteY18" fmla="*/ 217295 h 479214"/>
                  <a:gd name="connsiteX19" fmla="*/ 250918 w 339887"/>
                  <a:gd name="connsiteY19" fmla="*/ 112070 h 479214"/>
                  <a:gd name="connsiteX20" fmla="*/ 174386 w 339887"/>
                  <a:gd name="connsiteY20" fmla="*/ 76319 h 479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39887" h="479214">
                    <a:moveTo>
                      <a:pt x="319200" y="407206"/>
                    </a:moveTo>
                    <a:cubicBezTo>
                      <a:pt x="289755" y="456649"/>
                      <a:pt x="233911" y="479215"/>
                      <a:pt x="173751" y="479215"/>
                    </a:cubicBezTo>
                    <a:cubicBezTo>
                      <a:pt x="122984" y="479215"/>
                      <a:pt x="67774" y="464762"/>
                      <a:pt x="21322" y="434082"/>
                    </a:cubicBezTo>
                    <a:lnTo>
                      <a:pt x="53940" y="360806"/>
                    </a:lnTo>
                    <a:cubicBezTo>
                      <a:pt x="91508" y="388950"/>
                      <a:pt x="137960" y="402769"/>
                      <a:pt x="170578" y="402769"/>
                    </a:cubicBezTo>
                    <a:cubicBezTo>
                      <a:pt x="217030" y="402769"/>
                      <a:pt x="250791" y="377667"/>
                      <a:pt x="250791" y="325055"/>
                    </a:cubicBezTo>
                    <a:lnTo>
                      <a:pt x="250791" y="295009"/>
                    </a:lnTo>
                    <a:cubicBezTo>
                      <a:pt x="226296" y="326322"/>
                      <a:pt x="185555" y="336972"/>
                      <a:pt x="153571" y="336972"/>
                    </a:cubicBezTo>
                    <a:cubicBezTo>
                      <a:pt x="66378" y="336972"/>
                      <a:pt x="0" y="262427"/>
                      <a:pt x="0" y="167218"/>
                    </a:cubicBezTo>
                    <a:cubicBezTo>
                      <a:pt x="0" y="72009"/>
                      <a:pt x="65236" y="0"/>
                      <a:pt x="154841" y="0"/>
                    </a:cubicBezTo>
                    <a:cubicBezTo>
                      <a:pt x="188093" y="0"/>
                      <a:pt x="231372" y="11917"/>
                      <a:pt x="255233" y="46400"/>
                    </a:cubicBezTo>
                    <a:lnTo>
                      <a:pt x="262721" y="7607"/>
                    </a:lnTo>
                    <a:lnTo>
                      <a:pt x="339887" y="7607"/>
                    </a:lnTo>
                    <a:lnTo>
                      <a:pt x="339887" y="319603"/>
                    </a:lnTo>
                    <a:cubicBezTo>
                      <a:pt x="339887" y="355354"/>
                      <a:pt x="333034" y="384133"/>
                      <a:pt x="319200" y="407333"/>
                    </a:cubicBezTo>
                    <a:close/>
                    <a:moveTo>
                      <a:pt x="174386" y="76446"/>
                    </a:moveTo>
                    <a:cubicBezTo>
                      <a:pt x="117273" y="76446"/>
                      <a:pt x="91000" y="123987"/>
                      <a:pt x="91000" y="169754"/>
                    </a:cubicBezTo>
                    <a:cubicBezTo>
                      <a:pt x="91000" y="217929"/>
                      <a:pt x="122350" y="260526"/>
                      <a:pt x="173117" y="260526"/>
                    </a:cubicBezTo>
                    <a:cubicBezTo>
                      <a:pt x="200658" y="260526"/>
                      <a:pt x="231499" y="249876"/>
                      <a:pt x="250918" y="217295"/>
                    </a:cubicBezTo>
                    <a:lnTo>
                      <a:pt x="250918" y="112070"/>
                    </a:lnTo>
                    <a:cubicBezTo>
                      <a:pt x="228326" y="85701"/>
                      <a:pt x="202054" y="76319"/>
                      <a:pt x="174386" y="76319"/>
                    </a:cubicBezTo>
                    <a:close/>
                  </a:path>
                </a:pathLst>
              </a:custGeom>
              <a:solidFill>
                <a:srgbClr val="284191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CAE118C1-1F0B-C99B-140C-54A2264BA017}"/>
                  </a:ext>
                </a:extLst>
              </p:cNvPr>
              <p:cNvSpPr/>
              <p:nvPr/>
            </p:nvSpPr>
            <p:spPr>
              <a:xfrm>
                <a:off x="4058409" y="5115261"/>
                <a:ext cx="343441" cy="421277"/>
              </a:xfrm>
              <a:custGeom>
                <a:avLst/>
                <a:gdLst>
                  <a:gd name="connsiteX0" fmla="*/ 0 w 343441"/>
                  <a:gd name="connsiteY0" fmla="*/ 249749 h 421277"/>
                  <a:gd name="connsiteX1" fmla="*/ 171721 w 343441"/>
                  <a:gd name="connsiteY1" fmla="*/ 78221 h 421277"/>
                  <a:gd name="connsiteX2" fmla="*/ 343441 w 343441"/>
                  <a:gd name="connsiteY2" fmla="*/ 249749 h 421277"/>
                  <a:gd name="connsiteX3" fmla="*/ 171721 w 343441"/>
                  <a:gd name="connsiteY3" fmla="*/ 421278 h 421277"/>
                  <a:gd name="connsiteX4" fmla="*/ 0 w 343441"/>
                  <a:gd name="connsiteY4" fmla="*/ 249749 h 421277"/>
                  <a:gd name="connsiteX5" fmla="*/ 289374 w 343441"/>
                  <a:gd name="connsiteY5" fmla="*/ 249749 h 421277"/>
                  <a:gd name="connsiteX6" fmla="*/ 171721 w 343441"/>
                  <a:gd name="connsiteY6" fmla="*/ 123227 h 421277"/>
                  <a:gd name="connsiteX7" fmla="*/ 54067 w 343441"/>
                  <a:gd name="connsiteY7" fmla="*/ 249749 h 421277"/>
                  <a:gd name="connsiteX8" fmla="*/ 171721 w 343441"/>
                  <a:gd name="connsiteY8" fmla="*/ 376272 h 421277"/>
                  <a:gd name="connsiteX9" fmla="*/ 289374 w 343441"/>
                  <a:gd name="connsiteY9" fmla="*/ 249749 h 421277"/>
                  <a:gd name="connsiteX10" fmla="*/ 134280 w 343441"/>
                  <a:gd name="connsiteY10" fmla="*/ 0 h 421277"/>
                  <a:gd name="connsiteX11" fmla="*/ 134280 w 343441"/>
                  <a:gd name="connsiteY11" fmla="*/ 54007 h 421277"/>
                  <a:gd name="connsiteX12" fmla="*/ 80720 w 343441"/>
                  <a:gd name="connsiteY12" fmla="*/ 54007 h 421277"/>
                  <a:gd name="connsiteX13" fmla="*/ 80720 w 343441"/>
                  <a:gd name="connsiteY13" fmla="*/ 0 h 421277"/>
                  <a:gd name="connsiteX14" fmla="*/ 134280 w 343441"/>
                  <a:gd name="connsiteY14" fmla="*/ 0 h 421277"/>
                  <a:gd name="connsiteX15" fmla="*/ 262848 w 343441"/>
                  <a:gd name="connsiteY15" fmla="*/ 0 h 421277"/>
                  <a:gd name="connsiteX16" fmla="*/ 262848 w 343441"/>
                  <a:gd name="connsiteY16" fmla="*/ 54007 h 421277"/>
                  <a:gd name="connsiteX17" fmla="*/ 209289 w 343441"/>
                  <a:gd name="connsiteY17" fmla="*/ 54007 h 421277"/>
                  <a:gd name="connsiteX18" fmla="*/ 209289 w 343441"/>
                  <a:gd name="connsiteY18" fmla="*/ 0 h 421277"/>
                  <a:gd name="connsiteX19" fmla="*/ 262848 w 343441"/>
                  <a:gd name="connsiteY19" fmla="*/ 0 h 421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3441" h="421277">
                    <a:moveTo>
                      <a:pt x="0" y="249749"/>
                    </a:moveTo>
                    <a:cubicBezTo>
                      <a:pt x="0" y="154921"/>
                      <a:pt x="74501" y="78221"/>
                      <a:pt x="171721" y="78221"/>
                    </a:cubicBezTo>
                    <a:cubicBezTo>
                      <a:pt x="268940" y="78221"/>
                      <a:pt x="343441" y="155048"/>
                      <a:pt x="343441" y="249749"/>
                    </a:cubicBezTo>
                    <a:cubicBezTo>
                      <a:pt x="343441" y="344451"/>
                      <a:pt x="268940" y="421278"/>
                      <a:pt x="171721" y="421278"/>
                    </a:cubicBezTo>
                    <a:cubicBezTo>
                      <a:pt x="74501" y="421278"/>
                      <a:pt x="0" y="344451"/>
                      <a:pt x="0" y="249749"/>
                    </a:cubicBezTo>
                    <a:close/>
                    <a:moveTo>
                      <a:pt x="289374" y="249749"/>
                    </a:moveTo>
                    <a:cubicBezTo>
                      <a:pt x="289374" y="178628"/>
                      <a:pt x="240003" y="123227"/>
                      <a:pt x="171721" y="123227"/>
                    </a:cubicBezTo>
                    <a:cubicBezTo>
                      <a:pt x="103439" y="123227"/>
                      <a:pt x="54067" y="178628"/>
                      <a:pt x="54067" y="249749"/>
                    </a:cubicBezTo>
                    <a:cubicBezTo>
                      <a:pt x="54067" y="320871"/>
                      <a:pt x="103439" y="376272"/>
                      <a:pt x="171721" y="376272"/>
                    </a:cubicBezTo>
                    <a:cubicBezTo>
                      <a:pt x="240003" y="376272"/>
                      <a:pt x="289374" y="320871"/>
                      <a:pt x="289374" y="249749"/>
                    </a:cubicBezTo>
                    <a:close/>
                    <a:moveTo>
                      <a:pt x="134280" y="0"/>
                    </a:moveTo>
                    <a:lnTo>
                      <a:pt x="134280" y="54007"/>
                    </a:lnTo>
                    <a:lnTo>
                      <a:pt x="80720" y="54007"/>
                    </a:lnTo>
                    <a:lnTo>
                      <a:pt x="80720" y="0"/>
                    </a:lnTo>
                    <a:lnTo>
                      <a:pt x="134280" y="0"/>
                    </a:lnTo>
                    <a:close/>
                    <a:moveTo>
                      <a:pt x="262848" y="0"/>
                    </a:moveTo>
                    <a:lnTo>
                      <a:pt x="262848" y="54007"/>
                    </a:lnTo>
                    <a:lnTo>
                      <a:pt x="209289" y="54007"/>
                    </a:lnTo>
                    <a:lnTo>
                      <a:pt x="209289" y="0"/>
                    </a:lnTo>
                    <a:lnTo>
                      <a:pt x="262848" y="0"/>
                    </a:ln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C9C7CB3-EB1D-474A-5F0A-16DB9076F0C9}"/>
                  </a:ext>
                </a:extLst>
              </p:cNvPr>
              <p:cNvSpPr/>
              <p:nvPr/>
            </p:nvSpPr>
            <p:spPr>
              <a:xfrm>
                <a:off x="4446907" y="5285268"/>
                <a:ext cx="174512" cy="251144"/>
              </a:xfrm>
              <a:custGeom>
                <a:avLst/>
                <a:gdLst>
                  <a:gd name="connsiteX0" fmla="*/ 0 w 174512"/>
                  <a:gd name="connsiteY0" fmla="*/ 212858 h 251144"/>
                  <a:gd name="connsiteX1" fmla="*/ 32237 w 174512"/>
                  <a:gd name="connsiteY1" fmla="*/ 184840 h 251144"/>
                  <a:gd name="connsiteX2" fmla="*/ 85797 w 174512"/>
                  <a:gd name="connsiteY2" fmla="*/ 210956 h 251144"/>
                  <a:gd name="connsiteX3" fmla="*/ 125649 w 174512"/>
                  <a:gd name="connsiteY3" fmla="*/ 178248 h 251144"/>
                  <a:gd name="connsiteX4" fmla="*/ 80086 w 174512"/>
                  <a:gd name="connsiteY4" fmla="*/ 141736 h 251144"/>
                  <a:gd name="connsiteX5" fmla="*/ 13200 w 174512"/>
                  <a:gd name="connsiteY5" fmla="*/ 72009 h 251144"/>
                  <a:gd name="connsiteX6" fmla="*/ 92904 w 174512"/>
                  <a:gd name="connsiteY6" fmla="*/ 0 h 251144"/>
                  <a:gd name="connsiteX7" fmla="*/ 168801 w 174512"/>
                  <a:gd name="connsiteY7" fmla="*/ 27511 h 251144"/>
                  <a:gd name="connsiteX8" fmla="*/ 140372 w 174512"/>
                  <a:gd name="connsiteY8" fmla="*/ 58317 h 251144"/>
                  <a:gd name="connsiteX9" fmla="*/ 92904 w 174512"/>
                  <a:gd name="connsiteY9" fmla="*/ 39808 h 251144"/>
                  <a:gd name="connsiteX10" fmla="*/ 60159 w 174512"/>
                  <a:gd name="connsiteY10" fmla="*/ 68206 h 251144"/>
                  <a:gd name="connsiteX11" fmla="*/ 104327 w 174512"/>
                  <a:gd name="connsiteY11" fmla="*/ 103323 h 251144"/>
                  <a:gd name="connsiteX12" fmla="*/ 174513 w 174512"/>
                  <a:gd name="connsiteY12" fmla="*/ 175332 h 251144"/>
                  <a:gd name="connsiteX13" fmla="*/ 86304 w 174512"/>
                  <a:gd name="connsiteY13" fmla="*/ 251144 h 251144"/>
                  <a:gd name="connsiteX14" fmla="*/ 0 w 174512"/>
                  <a:gd name="connsiteY14" fmla="*/ 212731 h 251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4512" h="251144">
                    <a:moveTo>
                      <a:pt x="0" y="212858"/>
                    </a:moveTo>
                    <a:lnTo>
                      <a:pt x="32237" y="184840"/>
                    </a:lnTo>
                    <a:cubicBezTo>
                      <a:pt x="48864" y="201955"/>
                      <a:pt x="65490" y="210956"/>
                      <a:pt x="85797" y="210956"/>
                    </a:cubicBezTo>
                    <a:cubicBezTo>
                      <a:pt x="106104" y="210956"/>
                      <a:pt x="125649" y="200560"/>
                      <a:pt x="125649" y="178248"/>
                    </a:cubicBezTo>
                    <a:cubicBezTo>
                      <a:pt x="125649" y="159738"/>
                      <a:pt x="103819" y="151244"/>
                      <a:pt x="80086" y="141736"/>
                    </a:cubicBezTo>
                    <a:cubicBezTo>
                      <a:pt x="48737" y="128932"/>
                      <a:pt x="13200" y="114733"/>
                      <a:pt x="13200" y="72009"/>
                    </a:cubicBezTo>
                    <a:cubicBezTo>
                      <a:pt x="13200" y="23200"/>
                      <a:pt x="51656" y="0"/>
                      <a:pt x="92904" y="0"/>
                    </a:cubicBezTo>
                    <a:cubicBezTo>
                      <a:pt x="121334" y="0"/>
                      <a:pt x="148875" y="9508"/>
                      <a:pt x="168801" y="27511"/>
                    </a:cubicBezTo>
                    <a:lnTo>
                      <a:pt x="140372" y="58317"/>
                    </a:lnTo>
                    <a:cubicBezTo>
                      <a:pt x="129457" y="48302"/>
                      <a:pt x="110038" y="39808"/>
                      <a:pt x="92904" y="39808"/>
                    </a:cubicBezTo>
                    <a:cubicBezTo>
                      <a:pt x="73486" y="39808"/>
                      <a:pt x="60159" y="51218"/>
                      <a:pt x="60159" y="68206"/>
                    </a:cubicBezTo>
                    <a:cubicBezTo>
                      <a:pt x="60159" y="85194"/>
                      <a:pt x="81989" y="94322"/>
                      <a:pt x="104327" y="103323"/>
                    </a:cubicBezTo>
                    <a:cubicBezTo>
                      <a:pt x="135676" y="115620"/>
                      <a:pt x="174513" y="132735"/>
                      <a:pt x="174513" y="175332"/>
                    </a:cubicBezTo>
                    <a:cubicBezTo>
                      <a:pt x="174513" y="228831"/>
                      <a:pt x="131868" y="251144"/>
                      <a:pt x="86304" y="251144"/>
                    </a:cubicBezTo>
                    <a:cubicBezTo>
                      <a:pt x="52163" y="251144"/>
                      <a:pt x="20814" y="237833"/>
                      <a:pt x="0" y="212731"/>
                    </a:cubicBez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766B3582-A40D-F144-E466-2037ABA9094E}"/>
                  </a:ext>
                </a:extLst>
              </p:cNvPr>
              <p:cNvSpPr/>
              <p:nvPr/>
            </p:nvSpPr>
            <p:spPr>
              <a:xfrm>
                <a:off x="4655688" y="5234558"/>
                <a:ext cx="152302" cy="301093"/>
              </a:xfrm>
              <a:custGeom>
                <a:avLst/>
                <a:gdLst>
                  <a:gd name="connsiteX0" fmla="*/ 38456 w 152302"/>
                  <a:gd name="connsiteY0" fmla="*/ 260272 h 301093"/>
                  <a:gd name="connsiteX1" fmla="*/ 31349 w 152302"/>
                  <a:gd name="connsiteY1" fmla="*/ 212858 h 301093"/>
                  <a:gd name="connsiteX2" fmla="*/ 31349 w 152302"/>
                  <a:gd name="connsiteY2" fmla="*/ 98632 h 301093"/>
                  <a:gd name="connsiteX3" fmla="*/ 0 w 152302"/>
                  <a:gd name="connsiteY3" fmla="*/ 98632 h 301093"/>
                  <a:gd name="connsiteX4" fmla="*/ 0 w 152302"/>
                  <a:gd name="connsiteY4" fmla="*/ 56416 h 301093"/>
                  <a:gd name="connsiteX5" fmla="*/ 31349 w 152302"/>
                  <a:gd name="connsiteY5" fmla="*/ 56416 h 301093"/>
                  <a:gd name="connsiteX6" fmla="*/ 33760 w 152302"/>
                  <a:gd name="connsiteY6" fmla="*/ 0 h 301093"/>
                  <a:gd name="connsiteX7" fmla="*/ 80213 w 152302"/>
                  <a:gd name="connsiteY7" fmla="*/ 0 h 301093"/>
                  <a:gd name="connsiteX8" fmla="*/ 80213 w 152302"/>
                  <a:gd name="connsiteY8" fmla="*/ 56416 h 301093"/>
                  <a:gd name="connsiteX9" fmla="*/ 146210 w 152302"/>
                  <a:gd name="connsiteY9" fmla="*/ 56416 h 301093"/>
                  <a:gd name="connsiteX10" fmla="*/ 146210 w 152302"/>
                  <a:gd name="connsiteY10" fmla="*/ 98632 h 301093"/>
                  <a:gd name="connsiteX11" fmla="*/ 80213 w 152302"/>
                  <a:gd name="connsiteY11" fmla="*/ 98632 h 301093"/>
                  <a:gd name="connsiteX12" fmla="*/ 80213 w 152302"/>
                  <a:gd name="connsiteY12" fmla="*/ 202842 h 301093"/>
                  <a:gd name="connsiteX13" fmla="*/ 80720 w 152302"/>
                  <a:gd name="connsiteY13" fmla="*/ 221859 h 301093"/>
                  <a:gd name="connsiteX14" fmla="*/ 111054 w 152302"/>
                  <a:gd name="connsiteY14" fmla="*/ 257863 h 301093"/>
                  <a:gd name="connsiteX15" fmla="*/ 138087 w 152302"/>
                  <a:gd name="connsiteY15" fmla="*/ 251271 h 301093"/>
                  <a:gd name="connsiteX16" fmla="*/ 152302 w 152302"/>
                  <a:gd name="connsiteY16" fmla="*/ 289684 h 301093"/>
                  <a:gd name="connsiteX17" fmla="*/ 104327 w 152302"/>
                  <a:gd name="connsiteY17" fmla="*/ 301094 h 301093"/>
                  <a:gd name="connsiteX18" fmla="*/ 38330 w 152302"/>
                  <a:gd name="connsiteY18" fmla="*/ 260272 h 301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2302" h="301093">
                    <a:moveTo>
                      <a:pt x="38456" y="260272"/>
                    </a:moveTo>
                    <a:cubicBezTo>
                      <a:pt x="33253" y="246960"/>
                      <a:pt x="31349" y="230480"/>
                      <a:pt x="31349" y="212858"/>
                    </a:cubicBezTo>
                    <a:lnTo>
                      <a:pt x="31349" y="98632"/>
                    </a:lnTo>
                    <a:lnTo>
                      <a:pt x="0" y="98632"/>
                    </a:lnTo>
                    <a:lnTo>
                      <a:pt x="0" y="56416"/>
                    </a:lnTo>
                    <a:lnTo>
                      <a:pt x="31349" y="56416"/>
                    </a:lnTo>
                    <a:lnTo>
                      <a:pt x="33760" y="0"/>
                    </a:lnTo>
                    <a:lnTo>
                      <a:pt x="80213" y="0"/>
                    </a:lnTo>
                    <a:lnTo>
                      <a:pt x="80213" y="56416"/>
                    </a:lnTo>
                    <a:lnTo>
                      <a:pt x="146210" y="56416"/>
                    </a:lnTo>
                    <a:lnTo>
                      <a:pt x="146210" y="98632"/>
                    </a:lnTo>
                    <a:lnTo>
                      <a:pt x="80213" y="98632"/>
                    </a:lnTo>
                    <a:lnTo>
                      <a:pt x="80213" y="202842"/>
                    </a:lnTo>
                    <a:cubicBezTo>
                      <a:pt x="80213" y="209054"/>
                      <a:pt x="80213" y="214632"/>
                      <a:pt x="80720" y="221859"/>
                    </a:cubicBezTo>
                    <a:cubicBezTo>
                      <a:pt x="82116" y="244552"/>
                      <a:pt x="89731" y="257863"/>
                      <a:pt x="111054" y="257863"/>
                    </a:cubicBezTo>
                    <a:cubicBezTo>
                      <a:pt x="121461" y="257863"/>
                      <a:pt x="130472" y="255074"/>
                      <a:pt x="138087" y="251271"/>
                    </a:cubicBezTo>
                    <a:lnTo>
                      <a:pt x="152302" y="289684"/>
                    </a:lnTo>
                    <a:cubicBezTo>
                      <a:pt x="139484" y="296784"/>
                      <a:pt x="120953" y="301094"/>
                      <a:pt x="104327" y="301094"/>
                    </a:cubicBezTo>
                    <a:cubicBezTo>
                      <a:pt x="69679" y="301094"/>
                      <a:pt x="47849" y="284993"/>
                      <a:pt x="38330" y="260272"/>
                    </a:cubicBez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1630FD7D-FC57-9E0A-93CC-06107E803F74}"/>
                  </a:ext>
                </a:extLst>
              </p:cNvPr>
              <p:cNvSpPr/>
              <p:nvPr/>
            </p:nvSpPr>
            <p:spPr>
              <a:xfrm>
                <a:off x="4833120" y="5285395"/>
                <a:ext cx="231118" cy="251270"/>
              </a:xfrm>
              <a:custGeom>
                <a:avLst/>
                <a:gdLst>
                  <a:gd name="connsiteX0" fmla="*/ 0 w 231118"/>
                  <a:gd name="connsiteY0" fmla="*/ 126016 h 251270"/>
                  <a:gd name="connsiteX1" fmla="*/ 119557 w 231118"/>
                  <a:gd name="connsiteY1" fmla="*/ 0 h 251270"/>
                  <a:gd name="connsiteX2" fmla="*/ 231118 w 231118"/>
                  <a:gd name="connsiteY2" fmla="*/ 111436 h 251270"/>
                  <a:gd name="connsiteX3" fmla="*/ 228707 w 231118"/>
                  <a:gd name="connsiteY3" fmla="*/ 137933 h 251270"/>
                  <a:gd name="connsiteX4" fmla="*/ 49371 w 231118"/>
                  <a:gd name="connsiteY4" fmla="*/ 137933 h 251270"/>
                  <a:gd name="connsiteX5" fmla="*/ 121969 w 231118"/>
                  <a:gd name="connsiteY5" fmla="*/ 209942 h 251270"/>
                  <a:gd name="connsiteX6" fmla="*/ 191774 w 231118"/>
                  <a:gd name="connsiteY6" fmla="*/ 172036 h 251270"/>
                  <a:gd name="connsiteX7" fmla="*/ 225915 w 231118"/>
                  <a:gd name="connsiteY7" fmla="*/ 194348 h 251270"/>
                  <a:gd name="connsiteX8" fmla="*/ 119684 w 231118"/>
                  <a:gd name="connsiteY8" fmla="*/ 251271 h 251270"/>
                  <a:gd name="connsiteX9" fmla="*/ 127 w 231118"/>
                  <a:gd name="connsiteY9" fmla="*/ 126143 h 251270"/>
                  <a:gd name="connsiteX10" fmla="*/ 120573 w 231118"/>
                  <a:gd name="connsiteY10" fmla="*/ 40695 h 251270"/>
                  <a:gd name="connsiteX11" fmla="*/ 52290 w 231118"/>
                  <a:gd name="connsiteY11" fmla="*/ 100407 h 251270"/>
                  <a:gd name="connsiteX12" fmla="*/ 180351 w 231118"/>
                  <a:gd name="connsiteY12" fmla="*/ 100407 h 251270"/>
                  <a:gd name="connsiteX13" fmla="*/ 120573 w 231118"/>
                  <a:gd name="connsiteY13" fmla="*/ 40695 h 251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1118" h="251270">
                    <a:moveTo>
                      <a:pt x="0" y="126016"/>
                    </a:moveTo>
                    <a:cubicBezTo>
                      <a:pt x="0" y="54387"/>
                      <a:pt x="52164" y="0"/>
                      <a:pt x="119557" y="0"/>
                    </a:cubicBezTo>
                    <a:cubicBezTo>
                      <a:pt x="186951" y="0"/>
                      <a:pt x="231118" y="47414"/>
                      <a:pt x="231118" y="111436"/>
                    </a:cubicBezTo>
                    <a:cubicBezTo>
                      <a:pt x="231118" y="119930"/>
                      <a:pt x="230230" y="130833"/>
                      <a:pt x="228707" y="137933"/>
                    </a:cubicBezTo>
                    <a:lnTo>
                      <a:pt x="49371" y="137933"/>
                    </a:lnTo>
                    <a:cubicBezTo>
                      <a:pt x="52671" y="177233"/>
                      <a:pt x="79197" y="209942"/>
                      <a:pt x="121969" y="209942"/>
                    </a:cubicBezTo>
                    <a:cubicBezTo>
                      <a:pt x="153698" y="209942"/>
                      <a:pt x="177051" y="198152"/>
                      <a:pt x="191774" y="172036"/>
                    </a:cubicBezTo>
                    <a:lnTo>
                      <a:pt x="225915" y="194348"/>
                    </a:lnTo>
                    <a:cubicBezTo>
                      <a:pt x="201293" y="233269"/>
                      <a:pt x="168928" y="251271"/>
                      <a:pt x="119684" y="251271"/>
                    </a:cubicBezTo>
                    <a:cubicBezTo>
                      <a:pt x="44294" y="251271"/>
                      <a:pt x="127" y="196757"/>
                      <a:pt x="127" y="126143"/>
                    </a:cubicBezTo>
                    <a:close/>
                    <a:moveTo>
                      <a:pt x="120573" y="40695"/>
                    </a:moveTo>
                    <a:cubicBezTo>
                      <a:pt x="83512" y="40695"/>
                      <a:pt x="60794" y="66811"/>
                      <a:pt x="52290" y="100407"/>
                    </a:cubicBezTo>
                    <a:lnTo>
                      <a:pt x="180351" y="100407"/>
                    </a:lnTo>
                    <a:cubicBezTo>
                      <a:pt x="178447" y="67699"/>
                      <a:pt x="154206" y="40695"/>
                      <a:pt x="120573" y="40695"/>
                    </a:cubicBez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98B5E636-2FCF-0491-4B04-4DC945766B68}"/>
                  </a:ext>
                </a:extLst>
              </p:cNvPr>
              <p:cNvSpPr/>
              <p:nvPr/>
            </p:nvSpPr>
            <p:spPr>
              <a:xfrm>
                <a:off x="5121098" y="5285268"/>
                <a:ext cx="136183" cy="245565"/>
              </a:xfrm>
              <a:custGeom>
                <a:avLst/>
                <a:gdLst>
                  <a:gd name="connsiteX0" fmla="*/ 46452 w 136183"/>
                  <a:gd name="connsiteY0" fmla="*/ 5705 h 245565"/>
                  <a:gd name="connsiteX1" fmla="*/ 47848 w 136183"/>
                  <a:gd name="connsiteY1" fmla="*/ 43104 h 245565"/>
                  <a:gd name="connsiteX2" fmla="*/ 108642 w 136183"/>
                  <a:gd name="connsiteY2" fmla="*/ 0 h 245565"/>
                  <a:gd name="connsiteX3" fmla="*/ 136184 w 136183"/>
                  <a:gd name="connsiteY3" fmla="*/ 3296 h 245565"/>
                  <a:gd name="connsiteX4" fmla="*/ 126157 w 136183"/>
                  <a:gd name="connsiteY4" fmla="*/ 52612 h 245565"/>
                  <a:gd name="connsiteX5" fmla="*/ 103438 w 136183"/>
                  <a:gd name="connsiteY5" fmla="*/ 47414 h 245565"/>
                  <a:gd name="connsiteX6" fmla="*/ 48864 w 136183"/>
                  <a:gd name="connsiteY6" fmla="*/ 84433 h 245565"/>
                  <a:gd name="connsiteX7" fmla="*/ 48864 w 136183"/>
                  <a:gd name="connsiteY7" fmla="*/ 245566 h 245565"/>
                  <a:gd name="connsiteX8" fmla="*/ 0 w 136183"/>
                  <a:gd name="connsiteY8" fmla="*/ 245566 h 245565"/>
                  <a:gd name="connsiteX9" fmla="*/ 0 w 136183"/>
                  <a:gd name="connsiteY9" fmla="*/ 5705 h 245565"/>
                  <a:gd name="connsiteX10" fmla="*/ 46452 w 136183"/>
                  <a:gd name="connsiteY10" fmla="*/ 5705 h 245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6183" h="245565">
                    <a:moveTo>
                      <a:pt x="46452" y="5705"/>
                    </a:moveTo>
                    <a:lnTo>
                      <a:pt x="47848" y="43104"/>
                    </a:lnTo>
                    <a:cubicBezTo>
                      <a:pt x="62063" y="18002"/>
                      <a:pt x="83386" y="0"/>
                      <a:pt x="108642" y="0"/>
                    </a:cubicBezTo>
                    <a:cubicBezTo>
                      <a:pt x="119050" y="0"/>
                      <a:pt x="127172" y="887"/>
                      <a:pt x="136184" y="3296"/>
                    </a:cubicBezTo>
                    <a:lnTo>
                      <a:pt x="126157" y="52612"/>
                    </a:lnTo>
                    <a:cubicBezTo>
                      <a:pt x="119050" y="48809"/>
                      <a:pt x="112450" y="47414"/>
                      <a:pt x="103438" y="47414"/>
                    </a:cubicBezTo>
                    <a:cubicBezTo>
                      <a:pt x="80213" y="47414"/>
                      <a:pt x="62190" y="61106"/>
                      <a:pt x="48864" y="84433"/>
                    </a:cubicBezTo>
                    <a:lnTo>
                      <a:pt x="48864" y="245566"/>
                    </a:lnTo>
                    <a:lnTo>
                      <a:pt x="0" y="245566"/>
                    </a:lnTo>
                    <a:lnTo>
                      <a:pt x="0" y="5705"/>
                    </a:lnTo>
                    <a:lnTo>
                      <a:pt x="46452" y="5705"/>
                    </a:ln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4A92C882-E79A-B0D8-E50F-E0B6EAD164E3}"/>
                  </a:ext>
                </a:extLst>
              </p:cNvPr>
              <p:cNvSpPr/>
              <p:nvPr/>
            </p:nvSpPr>
            <p:spPr>
              <a:xfrm>
                <a:off x="5292311" y="5285268"/>
                <a:ext cx="136183" cy="245565"/>
              </a:xfrm>
              <a:custGeom>
                <a:avLst/>
                <a:gdLst>
                  <a:gd name="connsiteX0" fmla="*/ 46452 w 136183"/>
                  <a:gd name="connsiteY0" fmla="*/ 5705 h 245565"/>
                  <a:gd name="connsiteX1" fmla="*/ 47849 w 136183"/>
                  <a:gd name="connsiteY1" fmla="*/ 43104 h 245565"/>
                  <a:gd name="connsiteX2" fmla="*/ 108642 w 136183"/>
                  <a:gd name="connsiteY2" fmla="*/ 0 h 245565"/>
                  <a:gd name="connsiteX3" fmla="*/ 136184 w 136183"/>
                  <a:gd name="connsiteY3" fmla="*/ 3296 h 245565"/>
                  <a:gd name="connsiteX4" fmla="*/ 126157 w 136183"/>
                  <a:gd name="connsiteY4" fmla="*/ 52612 h 245565"/>
                  <a:gd name="connsiteX5" fmla="*/ 103438 w 136183"/>
                  <a:gd name="connsiteY5" fmla="*/ 47414 h 245565"/>
                  <a:gd name="connsiteX6" fmla="*/ 48864 w 136183"/>
                  <a:gd name="connsiteY6" fmla="*/ 84433 h 245565"/>
                  <a:gd name="connsiteX7" fmla="*/ 48864 w 136183"/>
                  <a:gd name="connsiteY7" fmla="*/ 245566 h 245565"/>
                  <a:gd name="connsiteX8" fmla="*/ 0 w 136183"/>
                  <a:gd name="connsiteY8" fmla="*/ 245566 h 245565"/>
                  <a:gd name="connsiteX9" fmla="*/ 0 w 136183"/>
                  <a:gd name="connsiteY9" fmla="*/ 5705 h 245565"/>
                  <a:gd name="connsiteX10" fmla="*/ 46452 w 136183"/>
                  <a:gd name="connsiteY10" fmla="*/ 5705 h 245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6183" h="245565">
                    <a:moveTo>
                      <a:pt x="46452" y="5705"/>
                    </a:moveTo>
                    <a:lnTo>
                      <a:pt x="47849" y="43104"/>
                    </a:lnTo>
                    <a:cubicBezTo>
                      <a:pt x="62063" y="18002"/>
                      <a:pt x="83386" y="0"/>
                      <a:pt x="108642" y="0"/>
                    </a:cubicBezTo>
                    <a:cubicBezTo>
                      <a:pt x="119050" y="0"/>
                      <a:pt x="127173" y="887"/>
                      <a:pt x="136184" y="3296"/>
                    </a:cubicBezTo>
                    <a:lnTo>
                      <a:pt x="126157" y="52612"/>
                    </a:lnTo>
                    <a:cubicBezTo>
                      <a:pt x="119050" y="48809"/>
                      <a:pt x="112450" y="47414"/>
                      <a:pt x="103438" y="47414"/>
                    </a:cubicBezTo>
                    <a:cubicBezTo>
                      <a:pt x="80213" y="47414"/>
                      <a:pt x="62190" y="61106"/>
                      <a:pt x="48864" y="84433"/>
                    </a:cubicBezTo>
                    <a:lnTo>
                      <a:pt x="48864" y="245566"/>
                    </a:lnTo>
                    <a:lnTo>
                      <a:pt x="0" y="245566"/>
                    </a:lnTo>
                    <a:lnTo>
                      <a:pt x="0" y="5705"/>
                    </a:lnTo>
                    <a:lnTo>
                      <a:pt x="46452" y="5705"/>
                    </a:ln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CB4CB02D-DC25-615D-6DAD-6121C6169D25}"/>
                  </a:ext>
                </a:extLst>
              </p:cNvPr>
              <p:cNvSpPr/>
              <p:nvPr/>
            </p:nvSpPr>
            <p:spPr>
              <a:xfrm>
                <a:off x="5444613" y="5285395"/>
                <a:ext cx="231118" cy="251270"/>
              </a:xfrm>
              <a:custGeom>
                <a:avLst/>
                <a:gdLst>
                  <a:gd name="connsiteX0" fmla="*/ 0 w 231118"/>
                  <a:gd name="connsiteY0" fmla="*/ 126016 h 251270"/>
                  <a:gd name="connsiteX1" fmla="*/ 119557 w 231118"/>
                  <a:gd name="connsiteY1" fmla="*/ 0 h 251270"/>
                  <a:gd name="connsiteX2" fmla="*/ 231119 w 231118"/>
                  <a:gd name="connsiteY2" fmla="*/ 111436 h 251270"/>
                  <a:gd name="connsiteX3" fmla="*/ 228707 w 231118"/>
                  <a:gd name="connsiteY3" fmla="*/ 137933 h 251270"/>
                  <a:gd name="connsiteX4" fmla="*/ 49371 w 231118"/>
                  <a:gd name="connsiteY4" fmla="*/ 137933 h 251270"/>
                  <a:gd name="connsiteX5" fmla="*/ 121969 w 231118"/>
                  <a:gd name="connsiteY5" fmla="*/ 209942 h 251270"/>
                  <a:gd name="connsiteX6" fmla="*/ 191774 w 231118"/>
                  <a:gd name="connsiteY6" fmla="*/ 172036 h 251270"/>
                  <a:gd name="connsiteX7" fmla="*/ 225915 w 231118"/>
                  <a:gd name="connsiteY7" fmla="*/ 194348 h 251270"/>
                  <a:gd name="connsiteX8" fmla="*/ 119684 w 231118"/>
                  <a:gd name="connsiteY8" fmla="*/ 251271 h 251270"/>
                  <a:gd name="connsiteX9" fmla="*/ 127 w 231118"/>
                  <a:gd name="connsiteY9" fmla="*/ 126143 h 251270"/>
                  <a:gd name="connsiteX10" fmla="*/ 120573 w 231118"/>
                  <a:gd name="connsiteY10" fmla="*/ 40695 h 251270"/>
                  <a:gd name="connsiteX11" fmla="*/ 52290 w 231118"/>
                  <a:gd name="connsiteY11" fmla="*/ 100407 h 251270"/>
                  <a:gd name="connsiteX12" fmla="*/ 180351 w 231118"/>
                  <a:gd name="connsiteY12" fmla="*/ 100407 h 251270"/>
                  <a:gd name="connsiteX13" fmla="*/ 120573 w 231118"/>
                  <a:gd name="connsiteY13" fmla="*/ 40695 h 251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1118" h="251270">
                    <a:moveTo>
                      <a:pt x="0" y="126016"/>
                    </a:moveTo>
                    <a:cubicBezTo>
                      <a:pt x="0" y="54387"/>
                      <a:pt x="52164" y="0"/>
                      <a:pt x="119557" y="0"/>
                    </a:cubicBezTo>
                    <a:cubicBezTo>
                      <a:pt x="186951" y="0"/>
                      <a:pt x="231119" y="47414"/>
                      <a:pt x="231119" y="111436"/>
                    </a:cubicBezTo>
                    <a:cubicBezTo>
                      <a:pt x="231119" y="119930"/>
                      <a:pt x="230230" y="130833"/>
                      <a:pt x="228707" y="137933"/>
                    </a:cubicBezTo>
                    <a:lnTo>
                      <a:pt x="49371" y="137933"/>
                    </a:lnTo>
                    <a:cubicBezTo>
                      <a:pt x="52671" y="177233"/>
                      <a:pt x="79197" y="209942"/>
                      <a:pt x="121969" y="209942"/>
                    </a:cubicBezTo>
                    <a:cubicBezTo>
                      <a:pt x="153698" y="209942"/>
                      <a:pt x="177051" y="198152"/>
                      <a:pt x="191774" y="172036"/>
                    </a:cubicBezTo>
                    <a:lnTo>
                      <a:pt x="225915" y="194348"/>
                    </a:lnTo>
                    <a:cubicBezTo>
                      <a:pt x="201293" y="233269"/>
                      <a:pt x="168928" y="251271"/>
                      <a:pt x="119684" y="251271"/>
                    </a:cubicBezTo>
                    <a:cubicBezTo>
                      <a:pt x="44295" y="251271"/>
                      <a:pt x="127" y="196757"/>
                      <a:pt x="127" y="126143"/>
                    </a:cubicBezTo>
                    <a:close/>
                    <a:moveTo>
                      <a:pt x="120573" y="40695"/>
                    </a:moveTo>
                    <a:cubicBezTo>
                      <a:pt x="83513" y="40695"/>
                      <a:pt x="60794" y="66811"/>
                      <a:pt x="52290" y="100407"/>
                    </a:cubicBezTo>
                    <a:lnTo>
                      <a:pt x="180351" y="100407"/>
                    </a:lnTo>
                    <a:cubicBezTo>
                      <a:pt x="178447" y="67699"/>
                      <a:pt x="154206" y="40695"/>
                      <a:pt x="120573" y="40695"/>
                    </a:cubicBez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8C91D55-14BE-6723-4415-2C7F36A7978B}"/>
                  </a:ext>
                </a:extLst>
              </p:cNvPr>
              <p:cNvSpPr/>
              <p:nvPr/>
            </p:nvSpPr>
            <p:spPr>
              <a:xfrm>
                <a:off x="5732591" y="5196652"/>
                <a:ext cx="48863" cy="334182"/>
              </a:xfrm>
              <a:custGeom>
                <a:avLst/>
                <a:gdLst>
                  <a:gd name="connsiteX0" fmla="*/ 48864 w 48863"/>
                  <a:gd name="connsiteY0" fmla="*/ 0 h 334182"/>
                  <a:gd name="connsiteX1" fmla="*/ 48864 w 48863"/>
                  <a:gd name="connsiteY1" fmla="*/ 50711 h 334182"/>
                  <a:gd name="connsiteX2" fmla="*/ 0 w 48863"/>
                  <a:gd name="connsiteY2" fmla="*/ 50711 h 334182"/>
                  <a:gd name="connsiteX3" fmla="*/ 0 w 48863"/>
                  <a:gd name="connsiteY3" fmla="*/ 0 h 334182"/>
                  <a:gd name="connsiteX4" fmla="*/ 48864 w 48863"/>
                  <a:gd name="connsiteY4" fmla="*/ 0 h 334182"/>
                  <a:gd name="connsiteX5" fmla="*/ 48864 w 48863"/>
                  <a:gd name="connsiteY5" fmla="*/ 94322 h 334182"/>
                  <a:gd name="connsiteX6" fmla="*/ 48864 w 48863"/>
                  <a:gd name="connsiteY6" fmla="*/ 334183 h 334182"/>
                  <a:gd name="connsiteX7" fmla="*/ 0 w 48863"/>
                  <a:gd name="connsiteY7" fmla="*/ 334183 h 334182"/>
                  <a:gd name="connsiteX8" fmla="*/ 0 w 48863"/>
                  <a:gd name="connsiteY8" fmla="*/ 94322 h 334182"/>
                  <a:gd name="connsiteX9" fmla="*/ 48864 w 48863"/>
                  <a:gd name="connsiteY9" fmla="*/ 94322 h 33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863" h="334182">
                    <a:moveTo>
                      <a:pt x="48864" y="0"/>
                    </a:moveTo>
                    <a:lnTo>
                      <a:pt x="48864" y="50711"/>
                    </a:lnTo>
                    <a:lnTo>
                      <a:pt x="0" y="50711"/>
                    </a:lnTo>
                    <a:lnTo>
                      <a:pt x="0" y="0"/>
                    </a:lnTo>
                    <a:lnTo>
                      <a:pt x="48864" y="0"/>
                    </a:lnTo>
                    <a:close/>
                    <a:moveTo>
                      <a:pt x="48864" y="94322"/>
                    </a:moveTo>
                    <a:lnTo>
                      <a:pt x="48864" y="334183"/>
                    </a:lnTo>
                    <a:lnTo>
                      <a:pt x="0" y="334183"/>
                    </a:lnTo>
                    <a:lnTo>
                      <a:pt x="0" y="94322"/>
                    </a:lnTo>
                    <a:lnTo>
                      <a:pt x="48864" y="94322"/>
                    </a:ln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30E2C8B8-5F6B-4EE0-55CE-C347B5457B27}"/>
                  </a:ext>
                </a:extLst>
              </p:cNvPr>
              <p:cNvSpPr/>
              <p:nvPr/>
            </p:nvSpPr>
            <p:spPr>
              <a:xfrm>
                <a:off x="5838315" y="5285268"/>
                <a:ext cx="199261" cy="251017"/>
              </a:xfrm>
              <a:custGeom>
                <a:avLst/>
                <a:gdLst>
                  <a:gd name="connsiteX0" fmla="*/ 0 w 199261"/>
                  <a:gd name="connsiteY0" fmla="*/ 125635 h 251017"/>
                  <a:gd name="connsiteX1" fmla="*/ 124761 w 199261"/>
                  <a:gd name="connsiteY1" fmla="*/ 0 h 251017"/>
                  <a:gd name="connsiteX2" fmla="*/ 196850 w 199261"/>
                  <a:gd name="connsiteY2" fmla="*/ 22693 h 251017"/>
                  <a:gd name="connsiteX3" fmla="*/ 173117 w 199261"/>
                  <a:gd name="connsiteY3" fmla="*/ 61106 h 251017"/>
                  <a:gd name="connsiteX4" fmla="*/ 124761 w 199261"/>
                  <a:gd name="connsiteY4" fmla="*/ 43991 h 251017"/>
                  <a:gd name="connsiteX5" fmla="*/ 49752 w 199261"/>
                  <a:gd name="connsiteY5" fmla="*/ 125509 h 251017"/>
                  <a:gd name="connsiteX6" fmla="*/ 124761 w 199261"/>
                  <a:gd name="connsiteY6" fmla="*/ 207026 h 251017"/>
                  <a:gd name="connsiteX7" fmla="*/ 174640 w 199261"/>
                  <a:gd name="connsiteY7" fmla="*/ 189911 h 251017"/>
                  <a:gd name="connsiteX8" fmla="*/ 199262 w 199261"/>
                  <a:gd name="connsiteY8" fmla="*/ 225916 h 251017"/>
                  <a:gd name="connsiteX9" fmla="*/ 122857 w 199261"/>
                  <a:gd name="connsiteY9" fmla="*/ 251017 h 251017"/>
                  <a:gd name="connsiteX10" fmla="*/ 0 w 199261"/>
                  <a:gd name="connsiteY10" fmla="*/ 125382 h 251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261" h="251017">
                    <a:moveTo>
                      <a:pt x="0" y="125635"/>
                    </a:moveTo>
                    <a:cubicBezTo>
                      <a:pt x="0" y="55528"/>
                      <a:pt x="54067" y="0"/>
                      <a:pt x="124761" y="0"/>
                    </a:cubicBezTo>
                    <a:cubicBezTo>
                      <a:pt x="152302" y="0"/>
                      <a:pt x="176544" y="8114"/>
                      <a:pt x="196850" y="22693"/>
                    </a:cubicBezTo>
                    <a:lnTo>
                      <a:pt x="173117" y="61106"/>
                    </a:lnTo>
                    <a:cubicBezTo>
                      <a:pt x="159410" y="50711"/>
                      <a:pt x="142276" y="43991"/>
                      <a:pt x="124761" y="43991"/>
                    </a:cubicBezTo>
                    <a:cubicBezTo>
                      <a:pt x="83004" y="43991"/>
                      <a:pt x="49752" y="80503"/>
                      <a:pt x="49752" y="125509"/>
                    </a:cubicBezTo>
                    <a:cubicBezTo>
                      <a:pt x="49752" y="174318"/>
                      <a:pt x="84909" y="207026"/>
                      <a:pt x="124761" y="207026"/>
                    </a:cubicBezTo>
                    <a:cubicBezTo>
                      <a:pt x="140879" y="207026"/>
                      <a:pt x="161313" y="200434"/>
                      <a:pt x="174640" y="189911"/>
                    </a:cubicBezTo>
                    <a:lnTo>
                      <a:pt x="199262" y="225916"/>
                    </a:lnTo>
                    <a:cubicBezTo>
                      <a:pt x="180224" y="242016"/>
                      <a:pt x="152810" y="251017"/>
                      <a:pt x="122857" y="251017"/>
                    </a:cubicBezTo>
                    <a:cubicBezTo>
                      <a:pt x="53560" y="251017"/>
                      <a:pt x="0" y="200814"/>
                      <a:pt x="0" y="125382"/>
                    </a:cubicBez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B09C1E1-7DA8-D09A-143B-484F7F581838}"/>
                  </a:ext>
                </a:extLst>
              </p:cNvPr>
              <p:cNvSpPr/>
              <p:nvPr/>
            </p:nvSpPr>
            <p:spPr>
              <a:xfrm>
                <a:off x="6086948" y="5175226"/>
                <a:ext cx="215380" cy="355607"/>
              </a:xfrm>
              <a:custGeom>
                <a:avLst/>
                <a:gdLst>
                  <a:gd name="connsiteX0" fmla="*/ 48864 w 215380"/>
                  <a:gd name="connsiteY0" fmla="*/ 127 h 355607"/>
                  <a:gd name="connsiteX1" fmla="*/ 48864 w 215380"/>
                  <a:gd name="connsiteY1" fmla="*/ 152766 h 355607"/>
                  <a:gd name="connsiteX2" fmla="*/ 125776 w 215380"/>
                  <a:gd name="connsiteY2" fmla="*/ 110169 h 355607"/>
                  <a:gd name="connsiteX3" fmla="*/ 194058 w 215380"/>
                  <a:gd name="connsiteY3" fmla="*/ 140468 h 355607"/>
                  <a:gd name="connsiteX4" fmla="*/ 215381 w 215380"/>
                  <a:gd name="connsiteY4" fmla="*/ 230987 h 355607"/>
                  <a:gd name="connsiteX5" fmla="*/ 215381 w 215380"/>
                  <a:gd name="connsiteY5" fmla="*/ 355608 h 355607"/>
                  <a:gd name="connsiteX6" fmla="*/ 166517 w 215380"/>
                  <a:gd name="connsiteY6" fmla="*/ 355608 h 355607"/>
                  <a:gd name="connsiteX7" fmla="*/ 166517 w 215380"/>
                  <a:gd name="connsiteY7" fmla="*/ 235170 h 355607"/>
                  <a:gd name="connsiteX8" fmla="*/ 155094 w 215380"/>
                  <a:gd name="connsiteY8" fmla="*/ 172670 h 355607"/>
                  <a:gd name="connsiteX9" fmla="*/ 115750 w 215380"/>
                  <a:gd name="connsiteY9" fmla="*/ 154160 h 355607"/>
                  <a:gd name="connsiteX10" fmla="*/ 48864 w 215380"/>
                  <a:gd name="connsiteY10" fmla="*/ 196757 h 355607"/>
                  <a:gd name="connsiteX11" fmla="*/ 48864 w 215380"/>
                  <a:gd name="connsiteY11" fmla="*/ 355481 h 355607"/>
                  <a:gd name="connsiteX12" fmla="*/ 0 w 215380"/>
                  <a:gd name="connsiteY12" fmla="*/ 355481 h 355607"/>
                  <a:gd name="connsiteX13" fmla="*/ 0 w 215380"/>
                  <a:gd name="connsiteY13" fmla="*/ 0 h 355607"/>
                  <a:gd name="connsiteX14" fmla="*/ 48864 w 215380"/>
                  <a:gd name="connsiteY14" fmla="*/ 0 h 35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15380" h="355607">
                    <a:moveTo>
                      <a:pt x="48864" y="127"/>
                    </a:moveTo>
                    <a:lnTo>
                      <a:pt x="48864" y="152766"/>
                    </a:lnTo>
                    <a:cubicBezTo>
                      <a:pt x="66886" y="125762"/>
                      <a:pt x="95316" y="110169"/>
                      <a:pt x="125776" y="110169"/>
                    </a:cubicBezTo>
                    <a:cubicBezTo>
                      <a:pt x="156237" y="110169"/>
                      <a:pt x="179843" y="121579"/>
                      <a:pt x="194058" y="140468"/>
                    </a:cubicBezTo>
                    <a:cubicBezTo>
                      <a:pt x="210685" y="163161"/>
                      <a:pt x="215381" y="194982"/>
                      <a:pt x="215381" y="230987"/>
                    </a:cubicBezTo>
                    <a:lnTo>
                      <a:pt x="215381" y="355608"/>
                    </a:lnTo>
                    <a:lnTo>
                      <a:pt x="166517" y="355608"/>
                    </a:lnTo>
                    <a:lnTo>
                      <a:pt x="166517" y="235170"/>
                    </a:lnTo>
                    <a:cubicBezTo>
                      <a:pt x="166517" y="213365"/>
                      <a:pt x="165628" y="189150"/>
                      <a:pt x="155094" y="172670"/>
                    </a:cubicBezTo>
                    <a:cubicBezTo>
                      <a:pt x="147987" y="161260"/>
                      <a:pt x="135168" y="154160"/>
                      <a:pt x="115750" y="154160"/>
                    </a:cubicBezTo>
                    <a:cubicBezTo>
                      <a:pt x="90112" y="154160"/>
                      <a:pt x="64474" y="171655"/>
                      <a:pt x="48864" y="196757"/>
                    </a:cubicBezTo>
                    <a:lnTo>
                      <a:pt x="48864" y="355481"/>
                    </a:lnTo>
                    <a:lnTo>
                      <a:pt x="0" y="355481"/>
                    </a:lnTo>
                    <a:lnTo>
                      <a:pt x="0" y="0"/>
                    </a:lnTo>
                    <a:lnTo>
                      <a:pt x="48864" y="0"/>
                    </a:lnTo>
                    <a:close/>
                  </a:path>
                </a:pathLst>
              </a:custGeom>
              <a:solidFill>
                <a:srgbClr val="78736E"/>
              </a:solidFill>
              <a:ln w="12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19873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, Teamseite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2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C0A24A1D-3DEE-23FA-7561-80ADCBD3629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2342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C119932A-AF2C-2779-4CBC-03E12A13CADB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886322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3B44BF0B-E871-7CF5-45B1-3F773E1393F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74889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93D061EC-6D50-45A2-9CEB-060478166BB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611460" y="2268773"/>
            <a:ext cx="1556786" cy="1556786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825B1109-B636-B585-25CC-3A145D3163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984344B-328B-7799-E722-026307AF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13766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49BD4FFA-28CD-4558-435F-706C453695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633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0419DD8A-9AD2-8A66-035B-7D696846D5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8903" y="4043824"/>
            <a:ext cx="2501900" cy="1365502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881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57">
          <p15:clr>
            <a:srgbClr val="FBAE40"/>
          </p15:clr>
        </p15:guide>
        <p15:guide id="2" pos="1923">
          <p15:clr>
            <a:srgbClr val="FBAE40"/>
          </p15:clr>
        </p15:guide>
        <p15:guide id="3" pos="2150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pos="55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eite 1+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207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19A12C7-BCC7-3DBA-5FBB-DE8FF80F14FE}"/>
              </a:ext>
            </a:extLst>
          </p:cNvPr>
          <p:cNvSpPr/>
          <p:nvPr userDrawn="1"/>
        </p:nvSpPr>
        <p:spPr>
          <a:xfrm>
            <a:off x="-1" y="-1"/>
            <a:ext cx="4079875" cy="685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291" y="365125"/>
            <a:ext cx="6002809" cy="105522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940C80AB-ECAF-79EE-EB2F-39BE3BA2584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248138" y="1816100"/>
            <a:ext cx="1774101" cy="1774101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EA32184F-1121-68C4-448D-745E75BD72F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449291" y="1816100"/>
            <a:ext cx="1081009" cy="1081009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19" name="Bildplatzhalter 3">
            <a:extLst>
              <a:ext uri="{FF2B5EF4-FFF2-40B4-BE49-F238E27FC236}">
                <a16:creationId xmlns:a16="http://schemas.microsoft.com/office/drawing/2014/main" id="{D466B3EC-2F7D-FB68-E1E0-EA5C731F858B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49291" y="3484347"/>
            <a:ext cx="1081009" cy="1081009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20" name="Bildplatzhalter 3">
            <a:extLst>
              <a:ext uri="{FF2B5EF4-FFF2-40B4-BE49-F238E27FC236}">
                <a16:creationId xmlns:a16="http://schemas.microsoft.com/office/drawing/2014/main" id="{05280AF1-4EB6-3B22-1558-125250D7FB58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449291" y="5152593"/>
            <a:ext cx="1081009" cy="1081009"/>
          </a:xfrm>
          <a:prstGeom prst="ellipse">
            <a:avLst/>
          </a:prstGeom>
          <a:solidFill>
            <a:srgbClr val="D8D7DE"/>
          </a:solidFill>
          <a:ln w="6350">
            <a:noFill/>
          </a:ln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DD14B8-62E2-5711-20D7-1B01BB6657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3" y="3844423"/>
            <a:ext cx="3168650" cy="874342"/>
          </a:xfrm>
        </p:spPr>
        <p:txBody>
          <a:bodyPr/>
          <a:lstStyle>
            <a:lvl1pPr algn="ctr">
              <a:defRPr sz="1800"/>
            </a:lvl1pPr>
            <a:lvl2pPr algn="ctr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46E228A7-CE04-8595-CCC5-196C1FC900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9716" y="1816100"/>
            <a:ext cx="5741421" cy="835870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600"/>
              </a:spcBef>
              <a:buFontTx/>
              <a:buNone/>
              <a:defRPr sz="1400"/>
            </a:lvl3pPr>
            <a:lvl4pPr marL="0" indent="0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None/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08283ACB-1F7B-18CD-AB26-F10DACAD338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99716" y="3484347"/>
            <a:ext cx="5741421" cy="835870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600"/>
              </a:spcBef>
              <a:buFontTx/>
              <a:buNone/>
              <a:defRPr sz="1400"/>
            </a:lvl3pPr>
            <a:lvl4pPr marL="0" indent="0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None/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FEE7AF57-6E23-A1FC-5C97-5023F252E8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99716" y="5152593"/>
            <a:ext cx="5741421" cy="835870"/>
          </a:xfrm>
        </p:spPr>
        <p:txBody>
          <a:bodyPr/>
          <a:lstStyle>
            <a:lvl1pPr algn="l">
              <a:defRPr sz="1800"/>
            </a:lvl1pPr>
            <a:lvl2pPr algn="l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600"/>
              </a:spcBef>
              <a:buFontTx/>
              <a:buNone/>
              <a:defRPr sz="1400"/>
            </a:lvl3pPr>
            <a:lvl4pPr marL="271463" indent="-271463" algn="l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defRPr sz="1400"/>
            </a:lvl4pPr>
            <a:lvl5pPr marL="538163" indent="-269875" algn="l">
              <a:lnSpc>
                <a:spcPct val="114000"/>
              </a:lnSpc>
              <a:spcBef>
                <a:spcPts val="0"/>
              </a:spcBef>
              <a:tabLst/>
              <a:defRPr sz="1400"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44191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 userDrawn="1">
          <p15:clr>
            <a:srgbClr val="FBAE40"/>
          </p15:clr>
        </p15:guide>
        <p15:guide id="2" pos="2797" userDrawn="1">
          <p15:clr>
            <a:srgbClr val="FBAE40"/>
          </p15:clr>
        </p15:guide>
        <p15:guide id="3" pos="234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73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2520540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44205"/>
            <a:ext cx="2868391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AT" dirty="0"/>
              <a:t>zweite Zeile</a:t>
            </a:r>
          </a:p>
        </p:txBody>
      </p:sp>
    </p:spTree>
    <p:extLst>
      <p:ext uri="{BB962C8B-B14F-4D97-AF65-F5344CB8AC3E}">
        <p14:creationId xmlns:p14="http://schemas.microsoft.com/office/powerpoint/2010/main" val="290118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9EA455C-FEC5-13B2-0AE1-676A8827F7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22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9EA455C-FEC5-13B2-0AE1-676A8827F7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6783872-AC9F-F88E-FE0C-0C067CCE6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F6FD74-C523-E264-7273-36F05221C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5C3B0B-D713-BF7A-3A04-8C6C33510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6447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9EA455C-FEC5-13B2-0AE1-676A8827F7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46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9EA455C-FEC5-13B2-0AE1-676A8827F7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Medienplatzhalter 18">
            <a:extLst>
              <a:ext uri="{FF2B5EF4-FFF2-40B4-BE49-F238E27FC236}">
                <a16:creationId xmlns:a16="http://schemas.microsoft.com/office/drawing/2014/main" id="{83E3B21A-F31F-FB66-BA26-B4F5ED1D97D6}"/>
              </a:ext>
            </a:extLst>
          </p:cNvPr>
          <p:cNvSpPr>
            <a:spLocks noGrp="1"/>
          </p:cNvSpPr>
          <p:nvPr>
            <p:ph type="media" sz="quarter" idx="16" hasCustomPrompt="1"/>
          </p:nvPr>
        </p:nvSpPr>
        <p:spPr>
          <a:xfrm>
            <a:off x="-1" y="0"/>
            <a:ext cx="12192000" cy="6858000"/>
          </a:xfrm>
          <a:solidFill>
            <a:srgbClr val="D8D7DE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0F1475D-6CC9-4794-84D8-2F1FD93D07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41126" y="294536"/>
            <a:ext cx="900644" cy="538859"/>
          </a:xfrm>
          <a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  <a:endParaRPr lang="de-AT" dirty="0"/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D009AE28-BCBE-A5C0-64EF-974B965058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486002"/>
            <a:ext cx="6096000" cy="371998"/>
          </a:xfrm>
        </p:spPr>
        <p:txBody>
          <a:bodyPr wrap="square" lIns="108000" tIns="108000" rIns="108000" bIns="108000" anchor="ctr"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33315340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fik 5">
            <a:extLst>
              <a:ext uri="{FF2B5EF4-FFF2-40B4-BE49-F238E27FC236}">
                <a16:creationId xmlns:a16="http://schemas.microsoft.com/office/drawing/2014/main" id="{A957B3BF-3781-5D38-F912-18D66890E95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29334" y="2051512"/>
            <a:ext cx="6335831" cy="2528579"/>
            <a:chOff x="3595095" y="2464340"/>
            <a:chExt cx="3313827" cy="1322522"/>
          </a:xfrm>
          <a:solidFill>
            <a:schemeClr val="tx2"/>
          </a:solidFill>
        </p:grpSpPr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760EA6D3-745D-4FA6-EFF5-E9E5B25C6252}"/>
                </a:ext>
              </a:extLst>
            </p:cNvPr>
            <p:cNvSpPr/>
            <p:nvPr/>
          </p:nvSpPr>
          <p:spPr>
            <a:xfrm>
              <a:off x="3595095" y="2464340"/>
              <a:ext cx="1022741" cy="1312010"/>
            </a:xfrm>
            <a:custGeom>
              <a:avLst/>
              <a:gdLst>
                <a:gd name="connsiteX0" fmla="*/ 1022589 w 1022741"/>
                <a:gd name="connsiteY0" fmla="*/ 461486 h 1312010"/>
                <a:gd name="connsiteX1" fmla="*/ 656233 w 1022741"/>
                <a:gd name="connsiteY1" fmla="*/ 1123355 h 1312010"/>
                <a:gd name="connsiteX2" fmla="*/ 502000 w 1022741"/>
                <a:gd name="connsiteY2" fmla="*/ 1222129 h 1312010"/>
                <a:gd name="connsiteX3" fmla="*/ 216607 w 1022741"/>
                <a:gd name="connsiteY3" fmla="*/ 1311188 h 1312010"/>
                <a:gd name="connsiteX4" fmla="*/ 26345 w 1022741"/>
                <a:gd name="connsiteY4" fmla="*/ 1264634 h 1312010"/>
                <a:gd name="connsiteX5" fmla="*/ 18654 w 1022741"/>
                <a:gd name="connsiteY5" fmla="*/ 1150072 h 1312010"/>
                <a:gd name="connsiteX6" fmla="*/ 200414 w 1022741"/>
                <a:gd name="connsiteY6" fmla="*/ 929045 h 1312010"/>
                <a:gd name="connsiteX7" fmla="*/ 208511 w 1022741"/>
                <a:gd name="connsiteY7" fmla="*/ 918924 h 1312010"/>
                <a:gd name="connsiteX8" fmla="*/ 328335 w 1022741"/>
                <a:gd name="connsiteY8" fmla="*/ 487799 h 1312010"/>
                <a:gd name="connsiteX9" fmla="*/ 439659 w 1022741"/>
                <a:gd name="connsiteY9" fmla="*/ 119420 h 1312010"/>
                <a:gd name="connsiteX10" fmla="*/ 437635 w 1022741"/>
                <a:gd name="connsiteY10" fmla="*/ 117396 h 1312010"/>
                <a:gd name="connsiteX11" fmla="*/ 125929 w 1022741"/>
                <a:gd name="connsiteY11" fmla="*/ 279321 h 1312010"/>
                <a:gd name="connsiteX12" fmla="*/ 129977 w 1022741"/>
                <a:gd name="connsiteY12" fmla="*/ 279321 h 1312010"/>
                <a:gd name="connsiteX13" fmla="*/ 152242 w 1022741"/>
                <a:gd name="connsiteY13" fmla="*/ 263128 h 1312010"/>
                <a:gd name="connsiteX14" fmla="*/ 123905 w 1022741"/>
                <a:gd name="connsiteY14" fmla="*/ 301585 h 1312010"/>
                <a:gd name="connsiteX15" fmla="*/ 89496 w 1022741"/>
                <a:gd name="connsiteY15" fmla="*/ 305633 h 1312010"/>
                <a:gd name="connsiteX16" fmla="*/ 32822 w 1022741"/>
                <a:gd name="connsiteY16" fmla="*/ 285393 h 1312010"/>
                <a:gd name="connsiteX17" fmla="*/ 2461 w 1022741"/>
                <a:gd name="connsiteY17" fmla="*/ 232767 h 1312010"/>
                <a:gd name="connsiteX18" fmla="*/ 310119 w 1022741"/>
                <a:gd name="connsiteY18" fmla="*/ 36433 h 1312010"/>
                <a:gd name="connsiteX19" fmla="*/ 553006 w 1022741"/>
                <a:gd name="connsiteY19" fmla="*/ 0 h 1312010"/>
                <a:gd name="connsiteX20" fmla="*/ 1022589 w 1022741"/>
                <a:gd name="connsiteY20" fmla="*/ 461486 h 1312010"/>
                <a:gd name="connsiteX21" fmla="*/ 127143 w 1022741"/>
                <a:gd name="connsiteY21" fmla="*/ 1158978 h 1312010"/>
                <a:gd name="connsiteX22" fmla="*/ 151837 w 1022741"/>
                <a:gd name="connsiteY22" fmla="*/ 1216057 h 1312010"/>
                <a:gd name="connsiteX23" fmla="*/ 174506 w 1022741"/>
                <a:gd name="connsiteY23" fmla="*/ 1216462 h 1312010"/>
                <a:gd name="connsiteX24" fmla="*/ 465971 w 1022741"/>
                <a:gd name="connsiteY24" fmla="*/ 1115259 h 1312010"/>
                <a:gd name="connsiteX25" fmla="*/ 795894 w 1022741"/>
                <a:gd name="connsiteY25" fmla="*/ 811649 h 1312010"/>
                <a:gd name="connsiteX26" fmla="*/ 322263 w 1022741"/>
                <a:gd name="connsiteY26" fmla="*/ 977622 h 1312010"/>
                <a:gd name="connsiteX27" fmla="*/ 299998 w 1022741"/>
                <a:gd name="connsiteY27" fmla="*/ 1175980 h 1312010"/>
                <a:gd name="connsiteX28" fmla="*/ 287854 w 1022741"/>
                <a:gd name="connsiteY28" fmla="*/ 1173956 h 1312010"/>
                <a:gd name="connsiteX29" fmla="*/ 269637 w 1022741"/>
                <a:gd name="connsiteY29" fmla="*/ 1184077 h 1312010"/>
                <a:gd name="connsiteX30" fmla="*/ 219036 w 1022741"/>
                <a:gd name="connsiteY30" fmla="*/ 1135499 h 1312010"/>
                <a:gd name="connsiteX31" fmla="*/ 196771 w 1022741"/>
                <a:gd name="connsiteY31" fmla="*/ 1086922 h 1312010"/>
                <a:gd name="connsiteX32" fmla="*/ 127143 w 1022741"/>
                <a:gd name="connsiteY32" fmla="*/ 1158978 h 1312010"/>
                <a:gd name="connsiteX33" fmla="*/ 352624 w 1022741"/>
                <a:gd name="connsiteY33" fmla="*/ 825818 h 1312010"/>
                <a:gd name="connsiteX34" fmla="*/ 700763 w 1022741"/>
                <a:gd name="connsiteY34" fmla="*/ 730687 h 1312010"/>
                <a:gd name="connsiteX35" fmla="*/ 830303 w 1022741"/>
                <a:gd name="connsiteY35" fmla="*/ 750927 h 1312010"/>
                <a:gd name="connsiteX36" fmla="*/ 555030 w 1022741"/>
                <a:gd name="connsiteY36" fmla="*/ 103227 h 1312010"/>
                <a:gd name="connsiteX37" fmla="*/ 546934 w 1022741"/>
                <a:gd name="connsiteY37" fmla="*/ 105251 h 1312010"/>
                <a:gd name="connsiteX38" fmla="*/ 352624 w 1022741"/>
                <a:gd name="connsiteY38" fmla="*/ 825818 h 131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22741" h="1312010">
                  <a:moveTo>
                    <a:pt x="1022589" y="461486"/>
                  </a:moveTo>
                  <a:cubicBezTo>
                    <a:pt x="1028661" y="728663"/>
                    <a:pt x="852567" y="983694"/>
                    <a:pt x="656233" y="1123355"/>
                  </a:cubicBezTo>
                  <a:cubicBezTo>
                    <a:pt x="609680" y="1153716"/>
                    <a:pt x="554625" y="1193792"/>
                    <a:pt x="502000" y="1222129"/>
                  </a:cubicBezTo>
                  <a:cubicBezTo>
                    <a:pt x="473663" y="1234273"/>
                    <a:pt x="321049" y="1306735"/>
                    <a:pt x="216607" y="1311188"/>
                  </a:cubicBezTo>
                  <a:cubicBezTo>
                    <a:pt x="112165" y="1315641"/>
                    <a:pt x="74113" y="1302282"/>
                    <a:pt x="26345" y="1264634"/>
                  </a:cubicBezTo>
                  <a:cubicBezTo>
                    <a:pt x="-2397" y="1241965"/>
                    <a:pt x="32" y="1192173"/>
                    <a:pt x="18654" y="1150072"/>
                  </a:cubicBezTo>
                  <a:cubicBezTo>
                    <a:pt x="37275" y="1107972"/>
                    <a:pt x="133620" y="983694"/>
                    <a:pt x="200414" y="929045"/>
                  </a:cubicBezTo>
                  <a:lnTo>
                    <a:pt x="208511" y="918924"/>
                  </a:lnTo>
                  <a:cubicBezTo>
                    <a:pt x="235228" y="773192"/>
                    <a:pt x="283806" y="629483"/>
                    <a:pt x="328335" y="487799"/>
                  </a:cubicBezTo>
                  <a:cubicBezTo>
                    <a:pt x="372865" y="356235"/>
                    <a:pt x="407274" y="253008"/>
                    <a:pt x="439659" y="119420"/>
                  </a:cubicBezTo>
                  <a:lnTo>
                    <a:pt x="437635" y="117396"/>
                  </a:lnTo>
                  <a:cubicBezTo>
                    <a:pt x="346552" y="117396"/>
                    <a:pt x="178554" y="206454"/>
                    <a:pt x="125929" y="279321"/>
                  </a:cubicBezTo>
                  <a:lnTo>
                    <a:pt x="129977" y="279321"/>
                  </a:lnTo>
                  <a:cubicBezTo>
                    <a:pt x="134025" y="279321"/>
                    <a:pt x="146169" y="269200"/>
                    <a:pt x="152242" y="263128"/>
                  </a:cubicBezTo>
                  <a:cubicBezTo>
                    <a:pt x="148194" y="277297"/>
                    <a:pt x="146169" y="287417"/>
                    <a:pt x="123905" y="301585"/>
                  </a:cubicBezTo>
                  <a:cubicBezTo>
                    <a:pt x="113784" y="303609"/>
                    <a:pt x="101640" y="305633"/>
                    <a:pt x="89496" y="305633"/>
                  </a:cubicBezTo>
                  <a:cubicBezTo>
                    <a:pt x="69255" y="305633"/>
                    <a:pt x="44966" y="301585"/>
                    <a:pt x="32822" y="285393"/>
                  </a:cubicBezTo>
                  <a:cubicBezTo>
                    <a:pt x="26750" y="275273"/>
                    <a:pt x="-9683" y="255032"/>
                    <a:pt x="2461" y="232767"/>
                  </a:cubicBezTo>
                  <a:cubicBezTo>
                    <a:pt x="67231" y="145733"/>
                    <a:pt x="208915" y="66794"/>
                    <a:pt x="310119" y="36433"/>
                  </a:cubicBezTo>
                  <a:cubicBezTo>
                    <a:pt x="401201" y="8096"/>
                    <a:pt x="457875" y="0"/>
                    <a:pt x="553006" y="0"/>
                  </a:cubicBezTo>
                  <a:cubicBezTo>
                    <a:pt x="777677" y="0"/>
                    <a:pt x="1012468" y="159901"/>
                    <a:pt x="1022589" y="461486"/>
                  </a:cubicBezTo>
                  <a:close/>
                  <a:moveTo>
                    <a:pt x="127143" y="1158978"/>
                  </a:moveTo>
                  <a:cubicBezTo>
                    <a:pt x="110546" y="1181243"/>
                    <a:pt x="124310" y="1213223"/>
                    <a:pt x="151837" y="1216057"/>
                  </a:cubicBezTo>
                  <a:cubicBezTo>
                    <a:pt x="158314" y="1216866"/>
                    <a:pt x="166005" y="1216866"/>
                    <a:pt x="174506" y="1216462"/>
                  </a:cubicBezTo>
                  <a:cubicBezTo>
                    <a:pt x="255469" y="1211604"/>
                    <a:pt x="393105" y="1159788"/>
                    <a:pt x="465971" y="1115259"/>
                  </a:cubicBezTo>
                  <a:cubicBezTo>
                    <a:pt x="585391" y="1042392"/>
                    <a:pt x="721003" y="929045"/>
                    <a:pt x="795894" y="811649"/>
                  </a:cubicBezTo>
                  <a:cubicBezTo>
                    <a:pt x="633969" y="811649"/>
                    <a:pt x="443707" y="872371"/>
                    <a:pt x="322263" y="977622"/>
                  </a:cubicBezTo>
                  <a:cubicBezTo>
                    <a:pt x="312143" y="1014055"/>
                    <a:pt x="279758" y="1141571"/>
                    <a:pt x="299998" y="1175980"/>
                  </a:cubicBezTo>
                  <a:lnTo>
                    <a:pt x="287854" y="1173956"/>
                  </a:lnTo>
                  <a:lnTo>
                    <a:pt x="269637" y="1184077"/>
                  </a:lnTo>
                  <a:cubicBezTo>
                    <a:pt x="249397" y="1165860"/>
                    <a:pt x="235228" y="1165860"/>
                    <a:pt x="219036" y="1135499"/>
                  </a:cubicBezTo>
                  <a:cubicBezTo>
                    <a:pt x="196771" y="1099066"/>
                    <a:pt x="202843" y="1090970"/>
                    <a:pt x="196771" y="1086922"/>
                  </a:cubicBezTo>
                  <a:cubicBezTo>
                    <a:pt x="175316" y="1101090"/>
                    <a:pt x="147789" y="1131451"/>
                    <a:pt x="127143" y="1158978"/>
                  </a:cubicBezTo>
                  <a:close/>
                  <a:moveTo>
                    <a:pt x="352624" y="825818"/>
                  </a:moveTo>
                  <a:cubicBezTo>
                    <a:pt x="421442" y="781288"/>
                    <a:pt x="585391" y="730687"/>
                    <a:pt x="700763" y="730687"/>
                  </a:cubicBezTo>
                  <a:cubicBezTo>
                    <a:pt x="745292" y="730687"/>
                    <a:pt x="787797" y="740807"/>
                    <a:pt x="830303" y="750927"/>
                  </a:cubicBezTo>
                  <a:cubicBezTo>
                    <a:pt x="947698" y="593050"/>
                    <a:pt x="992228" y="103227"/>
                    <a:pt x="555030" y="103227"/>
                  </a:cubicBezTo>
                  <a:cubicBezTo>
                    <a:pt x="553006" y="103227"/>
                    <a:pt x="550982" y="105251"/>
                    <a:pt x="546934" y="105251"/>
                  </a:cubicBezTo>
                  <a:cubicBezTo>
                    <a:pt x="546934" y="242888"/>
                    <a:pt x="393105" y="629483"/>
                    <a:pt x="352624" y="825818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11DD4280-A02F-D717-3584-F19908F2EB6D}"/>
                </a:ext>
              </a:extLst>
            </p:cNvPr>
            <p:cNvSpPr/>
            <p:nvPr/>
          </p:nvSpPr>
          <p:spPr>
            <a:xfrm>
              <a:off x="4574732" y="3004765"/>
              <a:ext cx="820311" cy="724614"/>
            </a:xfrm>
            <a:custGeom>
              <a:avLst/>
              <a:gdLst>
                <a:gd name="connsiteX0" fmla="*/ 461933 w 820311"/>
                <a:gd name="connsiteY0" fmla="*/ 589002 h 724614"/>
                <a:gd name="connsiteX1" fmla="*/ 474077 w 820311"/>
                <a:gd name="connsiteY1" fmla="*/ 643652 h 724614"/>
                <a:gd name="connsiteX2" fmla="*/ 731133 w 820311"/>
                <a:gd name="connsiteY2" fmla="*/ 327898 h 724614"/>
                <a:gd name="connsiteX3" fmla="*/ 810071 w 820311"/>
                <a:gd name="connsiteY3" fmla="*/ 202406 h 724614"/>
                <a:gd name="connsiteX4" fmla="*/ 814119 w 820311"/>
                <a:gd name="connsiteY4" fmla="*/ 238839 h 724614"/>
                <a:gd name="connsiteX5" fmla="*/ 816144 w 820311"/>
                <a:gd name="connsiteY5" fmla="*/ 263128 h 724614"/>
                <a:gd name="connsiteX6" fmla="*/ 814119 w 820311"/>
                <a:gd name="connsiteY6" fmla="*/ 273248 h 724614"/>
                <a:gd name="connsiteX7" fmla="*/ 820192 w 820311"/>
                <a:gd name="connsiteY7" fmla="*/ 279321 h 724614"/>
                <a:gd name="connsiteX8" fmla="*/ 820192 w 820311"/>
                <a:gd name="connsiteY8" fmla="*/ 285393 h 724614"/>
                <a:gd name="connsiteX9" fmla="*/ 793879 w 820311"/>
                <a:gd name="connsiteY9" fmla="*/ 358259 h 724614"/>
                <a:gd name="connsiteX10" fmla="*/ 482173 w 820311"/>
                <a:gd name="connsiteY10" fmla="*/ 724614 h 724614"/>
                <a:gd name="connsiteX11" fmla="*/ 453836 w 820311"/>
                <a:gd name="connsiteY11" fmla="*/ 720566 h 724614"/>
                <a:gd name="connsiteX12" fmla="*/ 437644 w 820311"/>
                <a:gd name="connsiteY12" fmla="*/ 712470 h 724614"/>
                <a:gd name="connsiteX13" fmla="*/ 356681 w 820311"/>
                <a:gd name="connsiteY13" fmla="*/ 536377 h 724614"/>
                <a:gd name="connsiteX14" fmla="*/ 393114 w 820311"/>
                <a:gd name="connsiteY14" fmla="*/ 307658 h 724614"/>
                <a:gd name="connsiteX15" fmla="*/ 391090 w 820311"/>
                <a:gd name="connsiteY15" fmla="*/ 307658 h 724614"/>
                <a:gd name="connsiteX16" fmla="*/ 111770 w 820311"/>
                <a:gd name="connsiteY16" fmla="*/ 657820 h 724614"/>
                <a:gd name="connsiteX17" fmla="*/ 446 w 820311"/>
                <a:gd name="connsiteY17" fmla="*/ 528280 h 724614"/>
                <a:gd name="connsiteX18" fmla="*/ 293935 w 820311"/>
                <a:gd name="connsiteY18" fmla="*/ 74890 h 724614"/>
                <a:gd name="connsiteX19" fmla="*/ 403235 w 820311"/>
                <a:gd name="connsiteY19" fmla="*/ 115372 h 724614"/>
                <a:gd name="connsiteX20" fmla="*/ 470029 w 820311"/>
                <a:gd name="connsiteY20" fmla="*/ 18217 h 724614"/>
                <a:gd name="connsiteX21" fmla="*/ 465981 w 820311"/>
                <a:gd name="connsiteY21" fmla="*/ 8096 h 724614"/>
                <a:gd name="connsiteX22" fmla="*/ 482173 w 820311"/>
                <a:gd name="connsiteY22" fmla="*/ 0 h 724614"/>
                <a:gd name="connsiteX23" fmla="*/ 571232 w 820311"/>
                <a:gd name="connsiteY23" fmla="*/ 52626 h 724614"/>
                <a:gd name="connsiteX24" fmla="*/ 536823 w 820311"/>
                <a:gd name="connsiteY24" fmla="*/ 196334 h 724614"/>
                <a:gd name="connsiteX25" fmla="*/ 461933 w 820311"/>
                <a:gd name="connsiteY25" fmla="*/ 589002 h 724614"/>
                <a:gd name="connsiteX26" fmla="*/ 352633 w 820311"/>
                <a:gd name="connsiteY26" fmla="*/ 186214 h 724614"/>
                <a:gd name="connsiteX27" fmla="*/ 318224 w 820311"/>
                <a:gd name="connsiteY27" fmla="*/ 157877 h 724614"/>
                <a:gd name="connsiteX28" fmla="*/ 281791 w 820311"/>
                <a:gd name="connsiteY28" fmla="*/ 176093 h 724614"/>
                <a:gd name="connsiteX29" fmla="*/ 97601 w 820311"/>
                <a:gd name="connsiteY29" fmla="*/ 562689 h 724614"/>
                <a:gd name="connsiteX30" fmla="*/ 99625 w 820311"/>
                <a:gd name="connsiteY30" fmla="*/ 576858 h 724614"/>
                <a:gd name="connsiteX31" fmla="*/ 352633 w 820311"/>
                <a:gd name="connsiteY31" fmla="*/ 186214 h 72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0311" h="724614">
                  <a:moveTo>
                    <a:pt x="461933" y="589002"/>
                  </a:moveTo>
                  <a:cubicBezTo>
                    <a:pt x="461933" y="597098"/>
                    <a:pt x="468005" y="643652"/>
                    <a:pt x="474077" y="643652"/>
                  </a:cubicBezTo>
                  <a:cubicBezTo>
                    <a:pt x="528727" y="643652"/>
                    <a:pt x="682555" y="400764"/>
                    <a:pt x="731133" y="327898"/>
                  </a:cubicBezTo>
                  <a:lnTo>
                    <a:pt x="810071" y="202406"/>
                  </a:lnTo>
                  <a:cubicBezTo>
                    <a:pt x="816144" y="208478"/>
                    <a:pt x="810071" y="234791"/>
                    <a:pt x="814119" y="238839"/>
                  </a:cubicBezTo>
                  <a:cubicBezTo>
                    <a:pt x="820192" y="244912"/>
                    <a:pt x="806023" y="267176"/>
                    <a:pt x="816144" y="263128"/>
                  </a:cubicBezTo>
                  <a:lnTo>
                    <a:pt x="814119" y="273248"/>
                  </a:lnTo>
                  <a:lnTo>
                    <a:pt x="820192" y="279321"/>
                  </a:lnTo>
                  <a:lnTo>
                    <a:pt x="820192" y="285393"/>
                  </a:lnTo>
                  <a:cubicBezTo>
                    <a:pt x="822216" y="295513"/>
                    <a:pt x="797927" y="356235"/>
                    <a:pt x="793879" y="358259"/>
                  </a:cubicBezTo>
                  <a:cubicBezTo>
                    <a:pt x="757446" y="443270"/>
                    <a:pt x="583376" y="724614"/>
                    <a:pt x="482173" y="724614"/>
                  </a:cubicBezTo>
                  <a:cubicBezTo>
                    <a:pt x="468005" y="724614"/>
                    <a:pt x="463957" y="724614"/>
                    <a:pt x="453836" y="720566"/>
                  </a:cubicBezTo>
                  <a:cubicBezTo>
                    <a:pt x="445740" y="716518"/>
                    <a:pt x="441692" y="716518"/>
                    <a:pt x="437644" y="712470"/>
                  </a:cubicBezTo>
                  <a:cubicBezTo>
                    <a:pt x="368826" y="686157"/>
                    <a:pt x="356681" y="603171"/>
                    <a:pt x="356681" y="536377"/>
                  </a:cubicBezTo>
                  <a:cubicBezTo>
                    <a:pt x="356681" y="461486"/>
                    <a:pt x="372874" y="380524"/>
                    <a:pt x="393114" y="307658"/>
                  </a:cubicBezTo>
                  <a:lnTo>
                    <a:pt x="391090" y="307658"/>
                  </a:lnTo>
                  <a:cubicBezTo>
                    <a:pt x="340489" y="388620"/>
                    <a:pt x="186660" y="657820"/>
                    <a:pt x="111770" y="657820"/>
                  </a:cubicBezTo>
                  <a:cubicBezTo>
                    <a:pt x="30807" y="657820"/>
                    <a:pt x="4494" y="599123"/>
                    <a:pt x="446" y="528280"/>
                  </a:cubicBezTo>
                  <a:cubicBezTo>
                    <a:pt x="-9674" y="400764"/>
                    <a:pt x="154275" y="74890"/>
                    <a:pt x="293935" y="74890"/>
                  </a:cubicBezTo>
                  <a:cubicBezTo>
                    <a:pt x="336441" y="74890"/>
                    <a:pt x="376922" y="78938"/>
                    <a:pt x="403235" y="115372"/>
                  </a:cubicBezTo>
                  <a:cubicBezTo>
                    <a:pt x="425499" y="87035"/>
                    <a:pt x="451812" y="52626"/>
                    <a:pt x="470029" y="18217"/>
                  </a:cubicBezTo>
                  <a:lnTo>
                    <a:pt x="465981" y="8096"/>
                  </a:lnTo>
                  <a:cubicBezTo>
                    <a:pt x="470029" y="4048"/>
                    <a:pt x="476101" y="0"/>
                    <a:pt x="482173" y="0"/>
                  </a:cubicBezTo>
                  <a:cubicBezTo>
                    <a:pt x="516582" y="0"/>
                    <a:pt x="571232" y="8096"/>
                    <a:pt x="571232" y="52626"/>
                  </a:cubicBezTo>
                  <a:cubicBezTo>
                    <a:pt x="571232" y="103227"/>
                    <a:pt x="550991" y="145733"/>
                    <a:pt x="536823" y="196334"/>
                  </a:cubicBezTo>
                  <a:cubicBezTo>
                    <a:pt x="498366" y="323850"/>
                    <a:pt x="461933" y="453390"/>
                    <a:pt x="461933" y="589002"/>
                  </a:cubicBezTo>
                  <a:close/>
                  <a:moveTo>
                    <a:pt x="352633" y="186214"/>
                  </a:moveTo>
                  <a:cubicBezTo>
                    <a:pt x="346561" y="176093"/>
                    <a:pt x="332393" y="157877"/>
                    <a:pt x="318224" y="157877"/>
                  </a:cubicBezTo>
                  <a:cubicBezTo>
                    <a:pt x="306080" y="157877"/>
                    <a:pt x="287863" y="170021"/>
                    <a:pt x="281791" y="176093"/>
                  </a:cubicBezTo>
                  <a:cubicBezTo>
                    <a:pt x="198804" y="255032"/>
                    <a:pt x="97601" y="451366"/>
                    <a:pt x="97601" y="562689"/>
                  </a:cubicBezTo>
                  <a:lnTo>
                    <a:pt x="99625" y="576858"/>
                  </a:lnTo>
                  <a:cubicBezTo>
                    <a:pt x="178564" y="457438"/>
                    <a:pt x="273695" y="303609"/>
                    <a:pt x="352633" y="186214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BFC039B8-22BF-91F9-0F64-2A8105D7E1E7}"/>
                </a:ext>
              </a:extLst>
            </p:cNvPr>
            <p:cNvSpPr/>
            <p:nvPr/>
          </p:nvSpPr>
          <p:spPr>
            <a:xfrm>
              <a:off x="5242915" y="3091800"/>
              <a:ext cx="708791" cy="611266"/>
            </a:xfrm>
            <a:custGeom>
              <a:avLst/>
              <a:gdLst>
                <a:gd name="connsiteX0" fmla="*/ 700530 w 708791"/>
                <a:gd name="connsiteY0" fmla="*/ 194310 h 611266"/>
                <a:gd name="connsiteX1" fmla="*/ 708626 w 708791"/>
                <a:gd name="connsiteY1" fmla="*/ 216575 h 611266"/>
                <a:gd name="connsiteX2" fmla="*/ 704578 w 708791"/>
                <a:gd name="connsiteY2" fmla="*/ 279321 h 611266"/>
                <a:gd name="connsiteX3" fmla="*/ 421209 w 708791"/>
                <a:gd name="connsiteY3" fmla="*/ 611267 h 611266"/>
                <a:gd name="connsiteX4" fmla="*/ 299765 w 708791"/>
                <a:gd name="connsiteY4" fmla="*/ 475655 h 611266"/>
                <a:gd name="connsiteX5" fmla="*/ 356439 w 708791"/>
                <a:gd name="connsiteY5" fmla="*/ 149781 h 611266"/>
                <a:gd name="connsiteX6" fmla="*/ 350367 w 708791"/>
                <a:gd name="connsiteY6" fmla="*/ 149781 h 611266"/>
                <a:gd name="connsiteX7" fmla="*/ 107479 w 708791"/>
                <a:gd name="connsiteY7" fmla="*/ 564713 h 611266"/>
                <a:gd name="connsiteX8" fmla="*/ 91287 w 708791"/>
                <a:gd name="connsiteY8" fmla="*/ 611267 h 611266"/>
                <a:gd name="connsiteX9" fmla="*/ 15587 w 708791"/>
                <a:gd name="connsiteY9" fmla="*/ 591431 h 611266"/>
                <a:gd name="connsiteX10" fmla="*/ 8300 w 708791"/>
                <a:gd name="connsiteY10" fmla="*/ 580906 h 611266"/>
                <a:gd name="connsiteX11" fmla="*/ 204 w 708791"/>
                <a:gd name="connsiteY11" fmla="*/ 548521 h 611266"/>
                <a:gd name="connsiteX12" fmla="*/ 119624 w 708791"/>
                <a:gd name="connsiteY12" fmla="*/ 24289 h 611266"/>
                <a:gd name="connsiteX13" fmla="*/ 119624 w 708791"/>
                <a:gd name="connsiteY13" fmla="*/ 12144 h 611266"/>
                <a:gd name="connsiteX14" fmla="*/ 121648 w 708791"/>
                <a:gd name="connsiteY14" fmla="*/ 0 h 611266"/>
                <a:gd name="connsiteX15" fmla="*/ 176297 w 708791"/>
                <a:gd name="connsiteY15" fmla="*/ 10120 h 611266"/>
                <a:gd name="connsiteX16" fmla="*/ 188442 w 708791"/>
                <a:gd name="connsiteY16" fmla="*/ 208478 h 611266"/>
                <a:gd name="connsiteX17" fmla="*/ 186418 w 708791"/>
                <a:gd name="connsiteY17" fmla="*/ 216575 h 611266"/>
                <a:gd name="connsiteX18" fmla="*/ 364535 w 708791"/>
                <a:gd name="connsiteY18" fmla="*/ 48578 h 611266"/>
                <a:gd name="connsiteX19" fmla="*/ 453594 w 708791"/>
                <a:gd name="connsiteY19" fmla="*/ 99179 h 611266"/>
                <a:gd name="connsiteX20" fmla="*/ 457642 w 708791"/>
                <a:gd name="connsiteY20" fmla="*/ 121444 h 611266"/>
                <a:gd name="connsiteX21" fmla="*/ 417161 w 708791"/>
                <a:gd name="connsiteY21" fmla="*/ 544473 h 611266"/>
                <a:gd name="connsiteX22" fmla="*/ 419185 w 708791"/>
                <a:gd name="connsiteY22" fmla="*/ 544473 h 611266"/>
                <a:gd name="connsiteX23" fmla="*/ 639808 w 708791"/>
                <a:gd name="connsiteY23" fmla="*/ 257056 h 611266"/>
                <a:gd name="connsiteX24" fmla="*/ 696482 w 708791"/>
                <a:gd name="connsiteY24" fmla="*/ 172045 h 611266"/>
                <a:gd name="connsiteX25" fmla="*/ 700530 w 708791"/>
                <a:gd name="connsiteY25" fmla="*/ 194310 h 6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08791" h="611266">
                  <a:moveTo>
                    <a:pt x="700530" y="194310"/>
                  </a:moveTo>
                  <a:cubicBezTo>
                    <a:pt x="710650" y="198358"/>
                    <a:pt x="708626" y="206454"/>
                    <a:pt x="708626" y="216575"/>
                  </a:cubicBezTo>
                  <a:cubicBezTo>
                    <a:pt x="700530" y="236815"/>
                    <a:pt x="710650" y="257056"/>
                    <a:pt x="704578" y="279321"/>
                  </a:cubicBezTo>
                  <a:cubicBezTo>
                    <a:pt x="647904" y="390644"/>
                    <a:pt x="558845" y="582930"/>
                    <a:pt x="421209" y="611267"/>
                  </a:cubicBezTo>
                  <a:cubicBezTo>
                    <a:pt x="344295" y="611267"/>
                    <a:pt x="301789" y="556617"/>
                    <a:pt x="299765" y="475655"/>
                  </a:cubicBezTo>
                  <a:cubicBezTo>
                    <a:pt x="295717" y="374452"/>
                    <a:pt x="358463" y="204430"/>
                    <a:pt x="356439" y="149781"/>
                  </a:cubicBezTo>
                  <a:cubicBezTo>
                    <a:pt x="356439" y="139660"/>
                    <a:pt x="350367" y="149781"/>
                    <a:pt x="350367" y="149781"/>
                  </a:cubicBezTo>
                  <a:cubicBezTo>
                    <a:pt x="253212" y="277297"/>
                    <a:pt x="158081" y="412909"/>
                    <a:pt x="107479" y="564713"/>
                  </a:cubicBezTo>
                  <a:cubicBezTo>
                    <a:pt x="101407" y="586978"/>
                    <a:pt x="95335" y="605195"/>
                    <a:pt x="91287" y="611267"/>
                  </a:cubicBezTo>
                  <a:cubicBezTo>
                    <a:pt x="85215" y="611267"/>
                    <a:pt x="23683" y="595479"/>
                    <a:pt x="15587" y="591431"/>
                  </a:cubicBezTo>
                  <a:lnTo>
                    <a:pt x="8300" y="580906"/>
                  </a:lnTo>
                  <a:cubicBezTo>
                    <a:pt x="4252" y="568762"/>
                    <a:pt x="204" y="562689"/>
                    <a:pt x="204" y="548521"/>
                  </a:cubicBezTo>
                  <a:cubicBezTo>
                    <a:pt x="-5868" y="410885"/>
                    <a:pt x="125696" y="99179"/>
                    <a:pt x="119624" y="24289"/>
                  </a:cubicBezTo>
                  <a:cubicBezTo>
                    <a:pt x="119624" y="22265"/>
                    <a:pt x="119624" y="14168"/>
                    <a:pt x="119624" y="12144"/>
                  </a:cubicBezTo>
                  <a:lnTo>
                    <a:pt x="121648" y="0"/>
                  </a:lnTo>
                  <a:cubicBezTo>
                    <a:pt x="133792" y="2024"/>
                    <a:pt x="156057" y="2024"/>
                    <a:pt x="176297" y="10120"/>
                  </a:cubicBezTo>
                  <a:cubicBezTo>
                    <a:pt x="237019" y="28337"/>
                    <a:pt x="202610" y="161925"/>
                    <a:pt x="188442" y="208478"/>
                  </a:cubicBezTo>
                  <a:lnTo>
                    <a:pt x="186418" y="216575"/>
                  </a:lnTo>
                  <a:cubicBezTo>
                    <a:pt x="204634" y="194310"/>
                    <a:pt x="311910" y="50602"/>
                    <a:pt x="364535" y="48578"/>
                  </a:cubicBezTo>
                  <a:cubicBezTo>
                    <a:pt x="400968" y="52626"/>
                    <a:pt x="443474" y="74890"/>
                    <a:pt x="453594" y="99179"/>
                  </a:cubicBezTo>
                  <a:cubicBezTo>
                    <a:pt x="455618" y="103227"/>
                    <a:pt x="455618" y="113348"/>
                    <a:pt x="457642" y="121444"/>
                  </a:cubicBezTo>
                  <a:cubicBezTo>
                    <a:pt x="481931" y="206454"/>
                    <a:pt x="382752" y="431125"/>
                    <a:pt x="417161" y="544473"/>
                  </a:cubicBezTo>
                  <a:lnTo>
                    <a:pt x="419185" y="544473"/>
                  </a:lnTo>
                  <a:cubicBezTo>
                    <a:pt x="467762" y="532328"/>
                    <a:pt x="566942" y="380524"/>
                    <a:pt x="639808" y="257056"/>
                  </a:cubicBezTo>
                  <a:cubicBezTo>
                    <a:pt x="649928" y="236815"/>
                    <a:pt x="688385" y="180142"/>
                    <a:pt x="696482" y="172045"/>
                  </a:cubicBezTo>
                  <a:cubicBezTo>
                    <a:pt x="702554" y="174069"/>
                    <a:pt x="702554" y="184190"/>
                    <a:pt x="700530" y="194310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9F9899F6-A6F1-C929-5D7F-E1C51C75AFD3}"/>
                </a:ext>
              </a:extLst>
            </p:cNvPr>
            <p:cNvSpPr/>
            <p:nvPr/>
          </p:nvSpPr>
          <p:spPr>
            <a:xfrm>
              <a:off x="5829692" y="2604810"/>
              <a:ext cx="615315" cy="1182052"/>
            </a:xfrm>
            <a:custGeom>
              <a:avLst/>
              <a:gdLst>
                <a:gd name="connsiteX0" fmla="*/ 537186 w 615315"/>
                <a:gd name="connsiteY0" fmla="*/ 277701 h 1182052"/>
                <a:gd name="connsiteX1" fmla="*/ 541234 w 615315"/>
                <a:gd name="connsiteY1" fmla="*/ 272439 h 1182052"/>
                <a:gd name="connsiteX2" fmla="*/ 545282 w 615315"/>
                <a:gd name="connsiteY2" fmla="*/ 270415 h 1182052"/>
                <a:gd name="connsiteX3" fmla="*/ 549735 w 615315"/>
                <a:gd name="connsiteY3" fmla="*/ 270415 h 1182052"/>
                <a:gd name="connsiteX4" fmla="*/ 552164 w 615315"/>
                <a:gd name="connsiteY4" fmla="*/ 270820 h 1182052"/>
                <a:gd name="connsiteX5" fmla="*/ 559046 w 615315"/>
                <a:gd name="connsiteY5" fmla="*/ 272439 h 1182052"/>
                <a:gd name="connsiteX6" fmla="*/ 585764 w 615315"/>
                <a:gd name="connsiteY6" fmla="*/ 268795 h 1182052"/>
                <a:gd name="connsiteX7" fmla="*/ 588598 w 615315"/>
                <a:gd name="connsiteY7" fmla="*/ 268795 h 1182052"/>
                <a:gd name="connsiteX8" fmla="*/ 603980 w 615315"/>
                <a:gd name="connsiteY8" fmla="*/ 277701 h 1182052"/>
                <a:gd name="connsiteX9" fmla="*/ 606409 w 615315"/>
                <a:gd name="connsiteY9" fmla="*/ 278106 h 1182052"/>
                <a:gd name="connsiteX10" fmla="*/ 609243 w 615315"/>
                <a:gd name="connsiteY10" fmla="*/ 278106 h 1182052"/>
                <a:gd name="connsiteX11" fmla="*/ 611672 w 615315"/>
                <a:gd name="connsiteY11" fmla="*/ 278916 h 1182052"/>
                <a:gd name="connsiteX12" fmla="*/ 615315 w 615315"/>
                <a:gd name="connsiteY12" fmla="*/ 283773 h 1182052"/>
                <a:gd name="connsiteX13" fmla="*/ 615315 w 615315"/>
                <a:gd name="connsiteY13" fmla="*/ 284988 h 1182052"/>
                <a:gd name="connsiteX14" fmla="*/ 614910 w 615315"/>
                <a:gd name="connsiteY14" fmla="*/ 287012 h 1182052"/>
                <a:gd name="connsiteX15" fmla="*/ 569166 w 615315"/>
                <a:gd name="connsiteY15" fmla="*/ 382953 h 1182052"/>
                <a:gd name="connsiteX16" fmla="*/ 568762 w 615315"/>
                <a:gd name="connsiteY16" fmla="*/ 383357 h 1182052"/>
                <a:gd name="connsiteX17" fmla="*/ 365141 w 615315"/>
                <a:gd name="connsiteY17" fmla="*/ 619363 h 1182052"/>
                <a:gd name="connsiteX18" fmla="*/ 363927 w 615315"/>
                <a:gd name="connsiteY18" fmla="*/ 619768 h 1182052"/>
                <a:gd name="connsiteX19" fmla="*/ 207264 w 615315"/>
                <a:gd name="connsiteY19" fmla="*/ 791813 h 1182052"/>
                <a:gd name="connsiteX20" fmla="*/ 206859 w 615315"/>
                <a:gd name="connsiteY20" fmla="*/ 795052 h 1182052"/>
                <a:gd name="connsiteX21" fmla="*/ 429101 w 615315"/>
                <a:gd name="connsiteY21" fmla="*/ 1022152 h 1182052"/>
                <a:gd name="connsiteX22" fmla="*/ 453390 w 615315"/>
                <a:gd name="connsiteY22" fmla="*/ 1022152 h 1182052"/>
                <a:gd name="connsiteX23" fmla="*/ 460272 w 615315"/>
                <a:gd name="connsiteY23" fmla="*/ 1022152 h 1182052"/>
                <a:gd name="connsiteX24" fmla="*/ 461891 w 615315"/>
                <a:gd name="connsiteY24" fmla="*/ 1032272 h 1182052"/>
                <a:gd name="connsiteX25" fmla="*/ 461486 w 615315"/>
                <a:gd name="connsiteY25" fmla="*/ 1032272 h 1182052"/>
                <a:gd name="connsiteX26" fmla="*/ 384167 w 615315"/>
                <a:gd name="connsiteY26" fmla="*/ 1052917 h 1182052"/>
                <a:gd name="connsiteX27" fmla="*/ 317778 w 615315"/>
                <a:gd name="connsiteY27" fmla="*/ 1053727 h 1182052"/>
                <a:gd name="connsiteX28" fmla="*/ 143708 w 615315"/>
                <a:gd name="connsiteY28" fmla="*/ 911233 h 1182052"/>
                <a:gd name="connsiteX29" fmla="*/ 134398 w 615315"/>
                <a:gd name="connsiteY29" fmla="*/ 912447 h 1182052"/>
                <a:gd name="connsiteX30" fmla="*/ 95131 w 615315"/>
                <a:gd name="connsiteY30" fmla="*/ 1084493 h 1182052"/>
                <a:gd name="connsiteX31" fmla="*/ 112538 w 615315"/>
                <a:gd name="connsiteY31" fmla="*/ 1159383 h 1182052"/>
                <a:gd name="connsiteX32" fmla="*/ 74890 w 615315"/>
                <a:gd name="connsiteY32" fmla="*/ 1182053 h 1182052"/>
                <a:gd name="connsiteX33" fmla="*/ 0 w 615315"/>
                <a:gd name="connsiteY33" fmla="*/ 1007983 h 1182052"/>
                <a:gd name="connsiteX34" fmla="*/ 80963 w 615315"/>
                <a:gd name="connsiteY34" fmla="*/ 661868 h 1182052"/>
                <a:gd name="connsiteX35" fmla="*/ 279321 w 615315"/>
                <a:gd name="connsiteY35" fmla="*/ 25098 h 1182052"/>
                <a:gd name="connsiteX36" fmla="*/ 279321 w 615315"/>
                <a:gd name="connsiteY36" fmla="*/ 23479 h 1182052"/>
                <a:gd name="connsiteX37" fmla="*/ 280535 w 615315"/>
                <a:gd name="connsiteY37" fmla="*/ 16597 h 1182052"/>
                <a:gd name="connsiteX38" fmla="*/ 282964 w 615315"/>
                <a:gd name="connsiteY38" fmla="*/ 12954 h 1182052"/>
                <a:gd name="connsiteX39" fmla="*/ 325469 w 615315"/>
                <a:gd name="connsiteY39" fmla="*/ 0 h 1182052"/>
                <a:gd name="connsiteX40" fmla="*/ 359878 w 615315"/>
                <a:gd name="connsiteY40" fmla="*/ 50602 h 1182052"/>
                <a:gd name="connsiteX41" fmla="*/ 222242 w 615315"/>
                <a:gd name="connsiteY41" fmla="*/ 597098 h 1182052"/>
                <a:gd name="connsiteX42" fmla="*/ 220218 w 615315"/>
                <a:gd name="connsiteY42" fmla="*/ 597098 h 1182052"/>
                <a:gd name="connsiteX43" fmla="*/ 222242 w 615315"/>
                <a:gd name="connsiteY43" fmla="*/ 599123 h 1182052"/>
                <a:gd name="connsiteX44" fmla="*/ 535567 w 615315"/>
                <a:gd name="connsiteY44" fmla="*/ 278106 h 1182052"/>
                <a:gd name="connsiteX45" fmla="*/ 537186 w 615315"/>
                <a:gd name="connsiteY45" fmla="*/ 277701 h 1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5315" h="1182052">
                  <a:moveTo>
                    <a:pt x="537186" y="277701"/>
                  </a:moveTo>
                  <a:lnTo>
                    <a:pt x="541234" y="272439"/>
                  </a:lnTo>
                  <a:cubicBezTo>
                    <a:pt x="542044" y="271224"/>
                    <a:pt x="543663" y="270415"/>
                    <a:pt x="545282" y="270415"/>
                  </a:cubicBezTo>
                  <a:lnTo>
                    <a:pt x="549735" y="270415"/>
                  </a:lnTo>
                  <a:cubicBezTo>
                    <a:pt x="550545" y="270415"/>
                    <a:pt x="551354" y="270415"/>
                    <a:pt x="552164" y="270820"/>
                  </a:cubicBezTo>
                  <a:cubicBezTo>
                    <a:pt x="554998" y="272439"/>
                    <a:pt x="555403" y="272439"/>
                    <a:pt x="559046" y="272439"/>
                  </a:cubicBezTo>
                  <a:cubicBezTo>
                    <a:pt x="568357" y="272439"/>
                    <a:pt x="578072" y="270820"/>
                    <a:pt x="585764" y="268795"/>
                  </a:cubicBezTo>
                  <a:cubicBezTo>
                    <a:pt x="586573" y="268391"/>
                    <a:pt x="587788" y="268391"/>
                    <a:pt x="588598" y="268795"/>
                  </a:cubicBezTo>
                  <a:cubicBezTo>
                    <a:pt x="593455" y="270820"/>
                    <a:pt x="597503" y="274463"/>
                    <a:pt x="603980" y="277701"/>
                  </a:cubicBezTo>
                  <a:cubicBezTo>
                    <a:pt x="604790" y="278106"/>
                    <a:pt x="605599" y="278106"/>
                    <a:pt x="606409" y="278106"/>
                  </a:cubicBezTo>
                  <a:lnTo>
                    <a:pt x="609243" y="278106"/>
                  </a:lnTo>
                  <a:lnTo>
                    <a:pt x="611672" y="278916"/>
                  </a:lnTo>
                  <a:cubicBezTo>
                    <a:pt x="613696" y="279725"/>
                    <a:pt x="615315" y="281749"/>
                    <a:pt x="615315" y="283773"/>
                  </a:cubicBezTo>
                  <a:lnTo>
                    <a:pt x="615315" y="284988"/>
                  </a:lnTo>
                  <a:cubicBezTo>
                    <a:pt x="615315" y="285798"/>
                    <a:pt x="615315" y="286607"/>
                    <a:pt x="614910" y="287012"/>
                  </a:cubicBezTo>
                  <a:cubicBezTo>
                    <a:pt x="599123" y="321016"/>
                    <a:pt x="584954" y="350972"/>
                    <a:pt x="569166" y="382953"/>
                  </a:cubicBezTo>
                  <a:cubicBezTo>
                    <a:pt x="569166" y="382953"/>
                    <a:pt x="569166" y="383357"/>
                    <a:pt x="568762" y="383357"/>
                  </a:cubicBezTo>
                  <a:cubicBezTo>
                    <a:pt x="546092" y="418171"/>
                    <a:pt x="398336" y="592241"/>
                    <a:pt x="365141" y="619363"/>
                  </a:cubicBezTo>
                  <a:cubicBezTo>
                    <a:pt x="364736" y="619768"/>
                    <a:pt x="364331" y="619768"/>
                    <a:pt x="363927" y="619768"/>
                  </a:cubicBezTo>
                  <a:cubicBezTo>
                    <a:pt x="350163" y="626245"/>
                    <a:pt x="220623" y="765096"/>
                    <a:pt x="207264" y="791813"/>
                  </a:cubicBezTo>
                  <a:cubicBezTo>
                    <a:pt x="206859" y="793028"/>
                    <a:pt x="206454" y="793837"/>
                    <a:pt x="206859" y="795052"/>
                  </a:cubicBezTo>
                  <a:cubicBezTo>
                    <a:pt x="227504" y="903946"/>
                    <a:pt x="306443" y="1022152"/>
                    <a:pt x="429101" y="1022152"/>
                  </a:cubicBezTo>
                  <a:cubicBezTo>
                    <a:pt x="441246" y="1022152"/>
                    <a:pt x="447318" y="1022152"/>
                    <a:pt x="453390" y="1022152"/>
                  </a:cubicBezTo>
                  <a:cubicBezTo>
                    <a:pt x="455414" y="1022152"/>
                    <a:pt x="457843" y="1022152"/>
                    <a:pt x="460272" y="1022152"/>
                  </a:cubicBezTo>
                  <a:cubicBezTo>
                    <a:pt x="466344" y="1021747"/>
                    <a:pt x="467963" y="1030653"/>
                    <a:pt x="461891" y="1032272"/>
                  </a:cubicBezTo>
                  <a:cubicBezTo>
                    <a:pt x="461891" y="1032272"/>
                    <a:pt x="461891" y="1032272"/>
                    <a:pt x="461486" y="1032272"/>
                  </a:cubicBezTo>
                  <a:cubicBezTo>
                    <a:pt x="460272" y="1033486"/>
                    <a:pt x="413313" y="1045226"/>
                    <a:pt x="384167" y="1052917"/>
                  </a:cubicBezTo>
                  <a:cubicBezTo>
                    <a:pt x="362307" y="1058180"/>
                    <a:pt x="339638" y="1058989"/>
                    <a:pt x="317778" y="1053727"/>
                  </a:cubicBezTo>
                  <a:cubicBezTo>
                    <a:pt x="242888" y="1035915"/>
                    <a:pt x="187833" y="972764"/>
                    <a:pt x="143708" y="911233"/>
                  </a:cubicBezTo>
                  <a:cubicBezTo>
                    <a:pt x="141280" y="907590"/>
                    <a:pt x="136017" y="908399"/>
                    <a:pt x="134398" y="912447"/>
                  </a:cubicBezTo>
                  <a:cubicBezTo>
                    <a:pt x="116991" y="966692"/>
                    <a:pt x="95536" y="1031462"/>
                    <a:pt x="95131" y="1084493"/>
                  </a:cubicBezTo>
                  <a:cubicBezTo>
                    <a:pt x="95131" y="1085707"/>
                    <a:pt x="104847" y="1155335"/>
                    <a:pt x="112538" y="1159383"/>
                  </a:cubicBezTo>
                  <a:cubicBezTo>
                    <a:pt x="112943" y="1159788"/>
                    <a:pt x="89059" y="1182053"/>
                    <a:pt x="74890" y="1182053"/>
                  </a:cubicBezTo>
                  <a:cubicBezTo>
                    <a:pt x="22265" y="1182053"/>
                    <a:pt x="0" y="1050489"/>
                    <a:pt x="0" y="1007983"/>
                  </a:cubicBezTo>
                  <a:cubicBezTo>
                    <a:pt x="0" y="935117"/>
                    <a:pt x="36433" y="803553"/>
                    <a:pt x="80963" y="661868"/>
                  </a:cubicBezTo>
                  <a:cubicBezTo>
                    <a:pt x="165163" y="381333"/>
                    <a:pt x="280940" y="53030"/>
                    <a:pt x="279321" y="25098"/>
                  </a:cubicBezTo>
                  <a:cubicBezTo>
                    <a:pt x="279321" y="24693"/>
                    <a:pt x="279321" y="24289"/>
                    <a:pt x="279321" y="23479"/>
                  </a:cubicBezTo>
                  <a:lnTo>
                    <a:pt x="280535" y="16597"/>
                  </a:lnTo>
                  <a:cubicBezTo>
                    <a:pt x="280940" y="14978"/>
                    <a:pt x="281749" y="13764"/>
                    <a:pt x="282964" y="12954"/>
                  </a:cubicBezTo>
                  <a:cubicBezTo>
                    <a:pt x="296323" y="5263"/>
                    <a:pt x="308062" y="0"/>
                    <a:pt x="325469" y="0"/>
                  </a:cubicBezTo>
                  <a:cubicBezTo>
                    <a:pt x="359878" y="0"/>
                    <a:pt x="359878" y="24289"/>
                    <a:pt x="359878" y="50602"/>
                  </a:cubicBezTo>
                  <a:cubicBezTo>
                    <a:pt x="359878" y="242888"/>
                    <a:pt x="268796" y="414933"/>
                    <a:pt x="222242" y="597098"/>
                  </a:cubicBezTo>
                  <a:lnTo>
                    <a:pt x="220218" y="597098"/>
                  </a:lnTo>
                  <a:lnTo>
                    <a:pt x="222242" y="599123"/>
                  </a:lnTo>
                  <a:cubicBezTo>
                    <a:pt x="270414" y="550950"/>
                    <a:pt x="520994" y="322636"/>
                    <a:pt x="535567" y="278106"/>
                  </a:cubicBezTo>
                  <a:cubicBezTo>
                    <a:pt x="536781" y="278916"/>
                    <a:pt x="536781" y="278106"/>
                    <a:pt x="537186" y="277701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 32">
              <a:extLst>
                <a:ext uri="{FF2B5EF4-FFF2-40B4-BE49-F238E27FC236}">
                  <a16:creationId xmlns:a16="http://schemas.microsoft.com/office/drawing/2014/main" id="{E79BDEB5-A786-057C-B958-029AE34D0A32}"/>
                </a:ext>
              </a:extLst>
            </p:cNvPr>
            <p:cNvSpPr/>
            <p:nvPr/>
          </p:nvSpPr>
          <p:spPr>
            <a:xfrm>
              <a:off x="6325491" y="3055367"/>
              <a:ext cx="583431" cy="688181"/>
            </a:xfrm>
            <a:custGeom>
              <a:avLst/>
              <a:gdLst>
                <a:gd name="connsiteX0" fmla="*/ 583432 w 583431"/>
                <a:gd name="connsiteY0" fmla="*/ 263128 h 688181"/>
                <a:gd name="connsiteX1" fmla="*/ 583432 w 583431"/>
                <a:gd name="connsiteY1" fmla="*/ 267176 h 688181"/>
                <a:gd name="connsiteX2" fmla="*/ 553071 w 583431"/>
                <a:gd name="connsiteY2" fmla="*/ 333970 h 688181"/>
                <a:gd name="connsiteX3" fmla="*/ 186715 w 583431"/>
                <a:gd name="connsiteY3" fmla="*/ 688181 h 688181"/>
                <a:gd name="connsiteX4" fmla="*/ 172547 w 583431"/>
                <a:gd name="connsiteY4" fmla="*/ 686157 h 688181"/>
                <a:gd name="connsiteX5" fmla="*/ 502 w 583431"/>
                <a:gd name="connsiteY5" fmla="*/ 463510 h 688181"/>
                <a:gd name="connsiteX6" fmla="*/ 225173 w 583431"/>
                <a:gd name="connsiteY6" fmla="*/ 10120 h 688181"/>
                <a:gd name="connsiteX7" fmla="*/ 229221 w 583431"/>
                <a:gd name="connsiteY7" fmla="*/ 4048 h 688181"/>
                <a:gd name="connsiteX8" fmla="*/ 265654 w 583431"/>
                <a:gd name="connsiteY8" fmla="*/ 0 h 688181"/>
                <a:gd name="connsiteX9" fmla="*/ 342568 w 583431"/>
                <a:gd name="connsiteY9" fmla="*/ 22265 h 688181"/>
                <a:gd name="connsiteX10" fmla="*/ 403290 w 583431"/>
                <a:gd name="connsiteY10" fmla="*/ 95131 h 688181"/>
                <a:gd name="connsiteX11" fmla="*/ 164451 w 583431"/>
                <a:gd name="connsiteY11" fmla="*/ 289441 h 688181"/>
                <a:gd name="connsiteX12" fmla="*/ 162427 w 583431"/>
                <a:gd name="connsiteY12" fmla="*/ 611267 h 688181"/>
                <a:gd name="connsiteX13" fmla="*/ 498421 w 583431"/>
                <a:gd name="connsiteY13" fmla="*/ 307658 h 688181"/>
                <a:gd name="connsiteX14" fmla="*/ 564406 w 583431"/>
                <a:gd name="connsiteY14" fmla="*/ 211717 h 688181"/>
                <a:gd name="connsiteX15" fmla="*/ 582217 w 583431"/>
                <a:gd name="connsiteY15" fmla="*/ 218194 h 688181"/>
                <a:gd name="connsiteX16" fmla="*/ 583432 w 583431"/>
                <a:gd name="connsiteY16" fmla="*/ 263128 h 688181"/>
                <a:gd name="connsiteX17" fmla="*/ 200884 w 583431"/>
                <a:gd name="connsiteY17" fmla="*/ 210503 h 688181"/>
                <a:gd name="connsiteX18" fmla="*/ 298039 w 583431"/>
                <a:gd name="connsiteY18" fmla="*/ 76914 h 688181"/>
                <a:gd name="connsiteX19" fmla="*/ 200884 w 583431"/>
                <a:gd name="connsiteY19" fmla="*/ 210503 h 68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3431" h="688181">
                  <a:moveTo>
                    <a:pt x="583432" y="263128"/>
                  </a:moveTo>
                  <a:cubicBezTo>
                    <a:pt x="583432" y="264343"/>
                    <a:pt x="583432" y="265962"/>
                    <a:pt x="583432" y="267176"/>
                  </a:cubicBezTo>
                  <a:cubicBezTo>
                    <a:pt x="580598" y="292679"/>
                    <a:pt x="561167" y="314135"/>
                    <a:pt x="553071" y="333970"/>
                  </a:cubicBezTo>
                  <a:cubicBezTo>
                    <a:pt x="502469" y="467558"/>
                    <a:pt x="302087" y="688181"/>
                    <a:pt x="186715" y="688181"/>
                  </a:cubicBezTo>
                  <a:cubicBezTo>
                    <a:pt x="180643" y="688181"/>
                    <a:pt x="176595" y="686157"/>
                    <a:pt x="172547" y="686157"/>
                  </a:cubicBezTo>
                  <a:cubicBezTo>
                    <a:pt x="43007" y="667941"/>
                    <a:pt x="-5571" y="591026"/>
                    <a:pt x="502" y="463510"/>
                  </a:cubicBezTo>
                  <a:cubicBezTo>
                    <a:pt x="8598" y="323850"/>
                    <a:pt x="119921" y="91083"/>
                    <a:pt x="225173" y="10120"/>
                  </a:cubicBezTo>
                  <a:lnTo>
                    <a:pt x="229221" y="4048"/>
                  </a:lnTo>
                  <a:cubicBezTo>
                    <a:pt x="231245" y="0"/>
                    <a:pt x="257558" y="0"/>
                    <a:pt x="265654" y="0"/>
                  </a:cubicBezTo>
                  <a:cubicBezTo>
                    <a:pt x="279822" y="0"/>
                    <a:pt x="330424" y="16193"/>
                    <a:pt x="342568" y="22265"/>
                  </a:cubicBezTo>
                  <a:cubicBezTo>
                    <a:pt x="383049" y="34409"/>
                    <a:pt x="403290" y="48578"/>
                    <a:pt x="403290" y="95131"/>
                  </a:cubicBezTo>
                  <a:cubicBezTo>
                    <a:pt x="403290" y="279321"/>
                    <a:pt x="178619" y="287417"/>
                    <a:pt x="164451" y="289441"/>
                  </a:cubicBezTo>
                  <a:cubicBezTo>
                    <a:pt x="138138" y="340043"/>
                    <a:pt x="49079" y="611267"/>
                    <a:pt x="162427" y="611267"/>
                  </a:cubicBezTo>
                  <a:cubicBezTo>
                    <a:pt x="257558" y="611267"/>
                    <a:pt x="441747" y="390644"/>
                    <a:pt x="498421" y="307658"/>
                  </a:cubicBezTo>
                  <a:cubicBezTo>
                    <a:pt x="510970" y="288631"/>
                    <a:pt x="541331" y="238435"/>
                    <a:pt x="564406" y="211717"/>
                  </a:cubicBezTo>
                  <a:cubicBezTo>
                    <a:pt x="570478" y="204835"/>
                    <a:pt x="581812" y="208883"/>
                    <a:pt x="582217" y="218194"/>
                  </a:cubicBezTo>
                  <a:cubicBezTo>
                    <a:pt x="582217" y="235196"/>
                    <a:pt x="583027" y="256246"/>
                    <a:pt x="583432" y="263128"/>
                  </a:cubicBezTo>
                  <a:close/>
                  <a:moveTo>
                    <a:pt x="200884" y="210503"/>
                  </a:moveTo>
                  <a:cubicBezTo>
                    <a:pt x="285894" y="192286"/>
                    <a:pt x="340544" y="119420"/>
                    <a:pt x="298039" y="76914"/>
                  </a:cubicBezTo>
                  <a:cubicBezTo>
                    <a:pt x="281846" y="87035"/>
                    <a:pt x="225173" y="167997"/>
                    <a:pt x="200884" y="210503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409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C4CFBDBB-0265-42A8-611F-3241857B1938}"/>
              </a:ext>
            </a:extLst>
          </p:cNvPr>
          <p:cNvSpPr txBox="1"/>
          <p:nvPr userDrawn="1"/>
        </p:nvSpPr>
        <p:spPr>
          <a:xfrm>
            <a:off x="5926055" y="4255992"/>
            <a:ext cx="3936610" cy="626701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180000" tIns="36000" rIns="180000" bIns="3600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30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Soleil Lt" panose="00000400000000000000" pitchFamily="50" charset="0"/>
              <a:buNone/>
              <a:defRPr sz="3000"/>
            </a:lvl2pPr>
            <a:lvl3pPr marL="270000" indent="-270000">
              <a:lnSpc>
                <a:spcPct val="100000"/>
              </a:lnSpc>
              <a:spcBef>
                <a:spcPts val="900"/>
              </a:spcBef>
              <a:buClr>
                <a:schemeClr val="accent2"/>
              </a:buClr>
              <a:buFont typeface="Soleil Lt" panose="00000400000000000000" pitchFamily="50" charset="0"/>
              <a:buChar char="»"/>
              <a:defRPr sz="3000"/>
            </a:lvl3pPr>
            <a:lvl4pPr marL="538163" indent="-271463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3000"/>
            </a:lvl4pPr>
            <a:lvl5pPr marL="810000" indent="-27000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30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rtl="0"/>
            <a:r>
              <a:rPr lang="de-AT" sz="3600" dirty="0"/>
              <a:t>für Ihr Interesse!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A7DE15B-AA00-205F-9705-48125C1509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6C74BB6-E2BC-595D-BC19-164553C9DA3D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93612A8-CC28-DAAD-B5C4-818662ADEB86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A6C61ACB-8F1B-8BA3-C3A1-717C18395C66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81DC6F8-E755-1972-52B7-B814828FD943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solidFill>
              <a:srgbClr val="96AAD2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165699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fik 5">
            <a:extLst>
              <a:ext uri="{FF2B5EF4-FFF2-40B4-BE49-F238E27FC236}">
                <a16:creationId xmlns:a16="http://schemas.microsoft.com/office/drawing/2014/main" id="{A957B3BF-3781-5D38-F912-18D66890E95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29334" y="2051512"/>
            <a:ext cx="6335831" cy="2528579"/>
            <a:chOff x="3595095" y="2464340"/>
            <a:chExt cx="3313827" cy="1322522"/>
          </a:xfrm>
          <a:solidFill>
            <a:schemeClr val="tx2"/>
          </a:solidFill>
        </p:grpSpPr>
        <p:sp>
          <p:nvSpPr>
            <p:cNvPr id="12" name="Freihandform 11">
              <a:extLst>
                <a:ext uri="{FF2B5EF4-FFF2-40B4-BE49-F238E27FC236}">
                  <a16:creationId xmlns:a16="http://schemas.microsoft.com/office/drawing/2014/main" id="{760EA6D3-745D-4FA6-EFF5-E9E5B25C6252}"/>
                </a:ext>
              </a:extLst>
            </p:cNvPr>
            <p:cNvSpPr/>
            <p:nvPr/>
          </p:nvSpPr>
          <p:spPr>
            <a:xfrm>
              <a:off x="3595095" y="2464340"/>
              <a:ext cx="1022741" cy="1312010"/>
            </a:xfrm>
            <a:custGeom>
              <a:avLst/>
              <a:gdLst>
                <a:gd name="connsiteX0" fmla="*/ 1022589 w 1022741"/>
                <a:gd name="connsiteY0" fmla="*/ 461486 h 1312010"/>
                <a:gd name="connsiteX1" fmla="*/ 656233 w 1022741"/>
                <a:gd name="connsiteY1" fmla="*/ 1123355 h 1312010"/>
                <a:gd name="connsiteX2" fmla="*/ 502000 w 1022741"/>
                <a:gd name="connsiteY2" fmla="*/ 1222129 h 1312010"/>
                <a:gd name="connsiteX3" fmla="*/ 216607 w 1022741"/>
                <a:gd name="connsiteY3" fmla="*/ 1311188 h 1312010"/>
                <a:gd name="connsiteX4" fmla="*/ 26345 w 1022741"/>
                <a:gd name="connsiteY4" fmla="*/ 1264634 h 1312010"/>
                <a:gd name="connsiteX5" fmla="*/ 18654 w 1022741"/>
                <a:gd name="connsiteY5" fmla="*/ 1150072 h 1312010"/>
                <a:gd name="connsiteX6" fmla="*/ 200414 w 1022741"/>
                <a:gd name="connsiteY6" fmla="*/ 929045 h 1312010"/>
                <a:gd name="connsiteX7" fmla="*/ 208511 w 1022741"/>
                <a:gd name="connsiteY7" fmla="*/ 918924 h 1312010"/>
                <a:gd name="connsiteX8" fmla="*/ 328335 w 1022741"/>
                <a:gd name="connsiteY8" fmla="*/ 487799 h 1312010"/>
                <a:gd name="connsiteX9" fmla="*/ 439659 w 1022741"/>
                <a:gd name="connsiteY9" fmla="*/ 119420 h 1312010"/>
                <a:gd name="connsiteX10" fmla="*/ 437635 w 1022741"/>
                <a:gd name="connsiteY10" fmla="*/ 117396 h 1312010"/>
                <a:gd name="connsiteX11" fmla="*/ 125929 w 1022741"/>
                <a:gd name="connsiteY11" fmla="*/ 279321 h 1312010"/>
                <a:gd name="connsiteX12" fmla="*/ 129977 w 1022741"/>
                <a:gd name="connsiteY12" fmla="*/ 279321 h 1312010"/>
                <a:gd name="connsiteX13" fmla="*/ 152242 w 1022741"/>
                <a:gd name="connsiteY13" fmla="*/ 263128 h 1312010"/>
                <a:gd name="connsiteX14" fmla="*/ 123905 w 1022741"/>
                <a:gd name="connsiteY14" fmla="*/ 301585 h 1312010"/>
                <a:gd name="connsiteX15" fmla="*/ 89496 w 1022741"/>
                <a:gd name="connsiteY15" fmla="*/ 305633 h 1312010"/>
                <a:gd name="connsiteX16" fmla="*/ 32822 w 1022741"/>
                <a:gd name="connsiteY16" fmla="*/ 285393 h 1312010"/>
                <a:gd name="connsiteX17" fmla="*/ 2461 w 1022741"/>
                <a:gd name="connsiteY17" fmla="*/ 232767 h 1312010"/>
                <a:gd name="connsiteX18" fmla="*/ 310119 w 1022741"/>
                <a:gd name="connsiteY18" fmla="*/ 36433 h 1312010"/>
                <a:gd name="connsiteX19" fmla="*/ 553006 w 1022741"/>
                <a:gd name="connsiteY19" fmla="*/ 0 h 1312010"/>
                <a:gd name="connsiteX20" fmla="*/ 1022589 w 1022741"/>
                <a:gd name="connsiteY20" fmla="*/ 461486 h 1312010"/>
                <a:gd name="connsiteX21" fmla="*/ 127143 w 1022741"/>
                <a:gd name="connsiteY21" fmla="*/ 1158978 h 1312010"/>
                <a:gd name="connsiteX22" fmla="*/ 151837 w 1022741"/>
                <a:gd name="connsiteY22" fmla="*/ 1216057 h 1312010"/>
                <a:gd name="connsiteX23" fmla="*/ 174506 w 1022741"/>
                <a:gd name="connsiteY23" fmla="*/ 1216462 h 1312010"/>
                <a:gd name="connsiteX24" fmla="*/ 465971 w 1022741"/>
                <a:gd name="connsiteY24" fmla="*/ 1115259 h 1312010"/>
                <a:gd name="connsiteX25" fmla="*/ 795894 w 1022741"/>
                <a:gd name="connsiteY25" fmla="*/ 811649 h 1312010"/>
                <a:gd name="connsiteX26" fmla="*/ 322263 w 1022741"/>
                <a:gd name="connsiteY26" fmla="*/ 977622 h 1312010"/>
                <a:gd name="connsiteX27" fmla="*/ 299998 w 1022741"/>
                <a:gd name="connsiteY27" fmla="*/ 1175980 h 1312010"/>
                <a:gd name="connsiteX28" fmla="*/ 287854 w 1022741"/>
                <a:gd name="connsiteY28" fmla="*/ 1173956 h 1312010"/>
                <a:gd name="connsiteX29" fmla="*/ 269637 w 1022741"/>
                <a:gd name="connsiteY29" fmla="*/ 1184077 h 1312010"/>
                <a:gd name="connsiteX30" fmla="*/ 219036 w 1022741"/>
                <a:gd name="connsiteY30" fmla="*/ 1135499 h 1312010"/>
                <a:gd name="connsiteX31" fmla="*/ 196771 w 1022741"/>
                <a:gd name="connsiteY31" fmla="*/ 1086922 h 1312010"/>
                <a:gd name="connsiteX32" fmla="*/ 127143 w 1022741"/>
                <a:gd name="connsiteY32" fmla="*/ 1158978 h 1312010"/>
                <a:gd name="connsiteX33" fmla="*/ 352624 w 1022741"/>
                <a:gd name="connsiteY33" fmla="*/ 825818 h 1312010"/>
                <a:gd name="connsiteX34" fmla="*/ 700763 w 1022741"/>
                <a:gd name="connsiteY34" fmla="*/ 730687 h 1312010"/>
                <a:gd name="connsiteX35" fmla="*/ 830303 w 1022741"/>
                <a:gd name="connsiteY35" fmla="*/ 750927 h 1312010"/>
                <a:gd name="connsiteX36" fmla="*/ 555030 w 1022741"/>
                <a:gd name="connsiteY36" fmla="*/ 103227 h 1312010"/>
                <a:gd name="connsiteX37" fmla="*/ 546934 w 1022741"/>
                <a:gd name="connsiteY37" fmla="*/ 105251 h 1312010"/>
                <a:gd name="connsiteX38" fmla="*/ 352624 w 1022741"/>
                <a:gd name="connsiteY38" fmla="*/ 825818 h 131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22741" h="1312010">
                  <a:moveTo>
                    <a:pt x="1022589" y="461486"/>
                  </a:moveTo>
                  <a:cubicBezTo>
                    <a:pt x="1028661" y="728663"/>
                    <a:pt x="852567" y="983694"/>
                    <a:pt x="656233" y="1123355"/>
                  </a:cubicBezTo>
                  <a:cubicBezTo>
                    <a:pt x="609680" y="1153716"/>
                    <a:pt x="554625" y="1193792"/>
                    <a:pt x="502000" y="1222129"/>
                  </a:cubicBezTo>
                  <a:cubicBezTo>
                    <a:pt x="473663" y="1234273"/>
                    <a:pt x="321049" y="1306735"/>
                    <a:pt x="216607" y="1311188"/>
                  </a:cubicBezTo>
                  <a:cubicBezTo>
                    <a:pt x="112165" y="1315641"/>
                    <a:pt x="74113" y="1302282"/>
                    <a:pt x="26345" y="1264634"/>
                  </a:cubicBezTo>
                  <a:cubicBezTo>
                    <a:pt x="-2397" y="1241965"/>
                    <a:pt x="32" y="1192173"/>
                    <a:pt x="18654" y="1150072"/>
                  </a:cubicBezTo>
                  <a:cubicBezTo>
                    <a:pt x="37275" y="1107972"/>
                    <a:pt x="133620" y="983694"/>
                    <a:pt x="200414" y="929045"/>
                  </a:cubicBezTo>
                  <a:lnTo>
                    <a:pt x="208511" y="918924"/>
                  </a:lnTo>
                  <a:cubicBezTo>
                    <a:pt x="235228" y="773192"/>
                    <a:pt x="283806" y="629483"/>
                    <a:pt x="328335" y="487799"/>
                  </a:cubicBezTo>
                  <a:cubicBezTo>
                    <a:pt x="372865" y="356235"/>
                    <a:pt x="407274" y="253008"/>
                    <a:pt x="439659" y="119420"/>
                  </a:cubicBezTo>
                  <a:lnTo>
                    <a:pt x="437635" y="117396"/>
                  </a:lnTo>
                  <a:cubicBezTo>
                    <a:pt x="346552" y="117396"/>
                    <a:pt x="178554" y="206454"/>
                    <a:pt x="125929" y="279321"/>
                  </a:cubicBezTo>
                  <a:lnTo>
                    <a:pt x="129977" y="279321"/>
                  </a:lnTo>
                  <a:cubicBezTo>
                    <a:pt x="134025" y="279321"/>
                    <a:pt x="146169" y="269200"/>
                    <a:pt x="152242" y="263128"/>
                  </a:cubicBezTo>
                  <a:cubicBezTo>
                    <a:pt x="148194" y="277297"/>
                    <a:pt x="146169" y="287417"/>
                    <a:pt x="123905" y="301585"/>
                  </a:cubicBezTo>
                  <a:cubicBezTo>
                    <a:pt x="113784" y="303609"/>
                    <a:pt x="101640" y="305633"/>
                    <a:pt x="89496" y="305633"/>
                  </a:cubicBezTo>
                  <a:cubicBezTo>
                    <a:pt x="69255" y="305633"/>
                    <a:pt x="44966" y="301585"/>
                    <a:pt x="32822" y="285393"/>
                  </a:cubicBezTo>
                  <a:cubicBezTo>
                    <a:pt x="26750" y="275273"/>
                    <a:pt x="-9683" y="255032"/>
                    <a:pt x="2461" y="232767"/>
                  </a:cubicBezTo>
                  <a:cubicBezTo>
                    <a:pt x="67231" y="145733"/>
                    <a:pt x="208915" y="66794"/>
                    <a:pt x="310119" y="36433"/>
                  </a:cubicBezTo>
                  <a:cubicBezTo>
                    <a:pt x="401201" y="8096"/>
                    <a:pt x="457875" y="0"/>
                    <a:pt x="553006" y="0"/>
                  </a:cubicBezTo>
                  <a:cubicBezTo>
                    <a:pt x="777677" y="0"/>
                    <a:pt x="1012468" y="159901"/>
                    <a:pt x="1022589" y="461486"/>
                  </a:cubicBezTo>
                  <a:close/>
                  <a:moveTo>
                    <a:pt x="127143" y="1158978"/>
                  </a:moveTo>
                  <a:cubicBezTo>
                    <a:pt x="110546" y="1181243"/>
                    <a:pt x="124310" y="1213223"/>
                    <a:pt x="151837" y="1216057"/>
                  </a:cubicBezTo>
                  <a:cubicBezTo>
                    <a:pt x="158314" y="1216866"/>
                    <a:pt x="166005" y="1216866"/>
                    <a:pt x="174506" y="1216462"/>
                  </a:cubicBezTo>
                  <a:cubicBezTo>
                    <a:pt x="255469" y="1211604"/>
                    <a:pt x="393105" y="1159788"/>
                    <a:pt x="465971" y="1115259"/>
                  </a:cubicBezTo>
                  <a:cubicBezTo>
                    <a:pt x="585391" y="1042392"/>
                    <a:pt x="721003" y="929045"/>
                    <a:pt x="795894" y="811649"/>
                  </a:cubicBezTo>
                  <a:cubicBezTo>
                    <a:pt x="633969" y="811649"/>
                    <a:pt x="443707" y="872371"/>
                    <a:pt x="322263" y="977622"/>
                  </a:cubicBezTo>
                  <a:cubicBezTo>
                    <a:pt x="312143" y="1014055"/>
                    <a:pt x="279758" y="1141571"/>
                    <a:pt x="299998" y="1175980"/>
                  </a:cubicBezTo>
                  <a:lnTo>
                    <a:pt x="287854" y="1173956"/>
                  </a:lnTo>
                  <a:lnTo>
                    <a:pt x="269637" y="1184077"/>
                  </a:lnTo>
                  <a:cubicBezTo>
                    <a:pt x="249397" y="1165860"/>
                    <a:pt x="235228" y="1165860"/>
                    <a:pt x="219036" y="1135499"/>
                  </a:cubicBezTo>
                  <a:cubicBezTo>
                    <a:pt x="196771" y="1099066"/>
                    <a:pt x="202843" y="1090970"/>
                    <a:pt x="196771" y="1086922"/>
                  </a:cubicBezTo>
                  <a:cubicBezTo>
                    <a:pt x="175316" y="1101090"/>
                    <a:pt x="147789" y="1131451"/>
                    <a:pt x="127143" y="1158978"/>
                  </a:cubicBezTo>
                  <a:close/>
                  <a:moveTo>
                    <a:pt x="352624" y="825818"/>
                  </a:moveTo>
                  <a:cubicBezTo>
                    <a:pt x="421442" y="781288"/>
                    <a:pt x="585391" y="730687"/>
                    <a:pt x="700763" y="730687"/>
                  </a:cubicBezTo>
                  <a:cubicBezTo>
                    <a:pt x="745292" y="730687"/>
                    <a:pt x="787797" y="740807"/>
                    <a:pt x="830303" y="750927"/>
                  </a:cubicBezTo>
                  <a:cubicBezTo>
                    <a:pt x="947698" y="593050"/>
                    <a:pt x="992228" y="103227"/>
                    <a:pt x="555030" y="103227"/>
                  </a:cubicBezTo>
                  <a:cubicBezTo>
                    <a:pt x="553006" y="103227"/>
                    <a:pt x="550982" y="105251"/>
                    <a:pt x="546934" y="105251"/>
                  </a:cubicBezTo>
                  <a:cubicBezTo>
                    <a:pt x="546934" y="242888"/>
                    <a:pt x="393105" y="629483"/>
                    <a:pt x="352624" y="825818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 12">
              <a:extLst>
                <a:ext uri="{FF2B5EF4-FFF2-40B4-BE49-F238E27FC236}">
                  <a16:creationId xmlns:a16="http://schemas.microsoft.com/office/drawing/2014/main" id="{11DD4280-A02F-D717-3584-F19908F2EB6D}"/>
                </a:ext>
              </a:extLst>
            </p:cNvPr>
            <p:cNvSpPr/>
            <p:nvPr/>
          </p:nvSpPr>
          <p:spPr>
            <a:xfrm>
              <a:off x="4574732" y="3004765"/>
              <a:ext cx="820311" cy="724614"/>
            </a:xfrm>
            <a:custGeom>
              <a:avLst/>
              <a:gdLst>
                <a:gd name="connsiteX0" fmla="*/ 461933 w 820311"/>
                <a:gd name="connsiteY0" fmla="*/ 589002 h 724614"/>
                <a:gd name="connsiteX1" fmla="*/ 474077 w 820311"/>
                <a:gd name="connsiteY1" fmla="*/ 643652 h 724614"/>
                <a:gd name="connsiteX2" fmla="*/ 731133 w 820311"/>
                <a:gd name="connsiteY2" fmla="*/ 327898 h 724614"/>
                <a:gd name="connsiteX3" fmla="*/ 810071 w 820311"/>
                <a:gd name="connsiteY3" fmla="*/ 202406 h 724614"/>
                <a:gd name="connsiteX4" fmla="*/ 814119 w 820311"/>
                <a:gd name="connsiteY4" fmla="*/ 238839 h 724614"/>
                <a:gd name="connsiteX5" fmla="*/ 816144 w 820311"/>
                <a:gd name="connsiteY5" fmla="*/ 263128 h 724614"/>
                <a:gd name="connsiteX6" fmla="*/ 814119 w 820311"/>
                <a:gd name="connsiteY6" fmla="*/ 273248 h 724614"/>
                <a:gd name="connsiteX7" fmla="*/ 820192 w 820311"/>
                <a:gd name="connsiteY7" fmla="*/ 279321 h 724614"/>
                <a:gd name="connsiteX8" fmla="*/ 820192 w 820311"/>
                <a:gd name="connsiteY8" fmla="*/ 285393 h 724614"/>
                <a:gd name="connsiteX9" fmla="*/ 793879 w 820311"/>
                <a:gd name="connsiteY9" fmla="*/ 358259 h 724614"/>
                <a:gd name="connsiteX10" fmla="*/ 482173 w 820311"/>
                <a:gd name="connsiteY10" fmla="*/ 724614 h 724614"/>
                <a:gd name="connsiteX11" fmla="*/ 453836 w 820311"/>
                <a:gd name="connsiteY11" fmla="*/ 720566 h 724614"/>
                <a:gd name="connsiteX12" fmla="*/ 437644 w 820311"/>
                <a:gd name="connsiteY12" fmla="*/ 712470 h 724614"/>
                <a:gd name="connsiteX13" fmla="*/ 356681 w 820311"/>
                <a:gd name="connsiteY13" fmla="*/ 536377 h 724614"/>
                <a:gd name="connsiteX14" fmla="*/ 393114 w 820311"/>
                <a:gd name="connsiteY14" fmla="*/ 307658 h 724614"/>
                <a:gd name="connsiteX15" fmla="*/ 391090 w 820311"/>
                <a:gd name="connsiteY15" fmla="*/ 307658 h 724614"/>
                <a:gd name="connsiteX16" fmla="*/ 111770 w 820311"/>
                <a:gd name="connsiteY16" fmla="*/ 657820 h 724614"/>
                <a:gd name="connsiteX17" fmla="*/ 446 w 820311"/>
                <a:gd name="connsiteY17" fmla="*/ 528280 h 724614"/>
                <a:gd name="connsiteX18" fmla="*/ 293935 w 820311"/>
                <a:gd name="connsiteY18" fmla="*/ 74890 h 724614"/>
                <a:gd name="connsiteX19" fmla="*/ 403235 w 820311"/>
                <a:gd name="connsiteY19" fmla="*/ 115372 h 724614"/>
                <a:gd name="connsiteX20" fmla="*/ 470029 w 820311"/>
                <a:gd name="connsiteY20" fmla="*/ 18217 h 724614"/>
                <a:gd name="connsiteX21" fmla="*/ 465981 w 820311"/>
                <a:gd name="connsiteY21" fmla="*/ 8096 h 724614"/>
                <a:gd name="connsiteX22" fmla="*/ 482173 w 820311"/>
                <a:gd name="connsiteY22" fmla="*/ 0 h 724614"/>
                <a:gd name="connsiteX23" fmla="*/ 571232 w 820311"/>
                <a:gd name="connsiteY23" fmla="*/ 52626 h 724614"/>
                <a:gd name="connsiteX24" fmla="*/ 536823 w 820311"/>
                <a:gd name="connsiteY24" fmla="*/ 196334 h 724614"/>
                <a:gd name="connsiteX25" fmla="*/ 461933 w 820311"/>
                <a:gd name="connsiteY25" fmla="*/ 589002 h 724614"/>
                <a:gd name="connsiteX26" fmla="*/ 352633 w 820311"/>
                <a:gd name="connsiteY26" fmla="*/ 186214 h 724614"/>
                <a:gd name="connsiteX27" fmla="*/ 318224 w 820311"/>
                <a:gd name="connsiteY27" fmla="*/ 157877 h 724614"/>
                <a:gd name="connsiteX28" fmla="*/ 281791 w 820311"/>
                <a:gd name="connsiteY28" fmla="*/ 176093 h 724614"/>
                <a:gd name="connsiteX29" fmla="*/ 97601 w 820311"/>
                <a:gd name="connsiteY29" fmla="*/ 562689 h 724614"/>
                <a:gd name="connsiteX30" fmla="*/ 99625 w 820311"/>
                <a:gd name="connsiteY30" fmla="*/ 576858 h 724614"/>
                <a:gd name="connsiteX31" fmla="*/ 352633 w 820311"/>
                <a:gd name="connsiteY31" fmla="*/ 186214 h 72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0311" h="724614">
                  <a:moveTo>
                    <a:pt x="461933" y="589002"/>
                  </a:moveTo>
                  <a:cubicBezTo>
                    <a:pt x="461933" y="597098"/>
                    <a:pt x="468005" y="643652"/>
                    <a:pt x="474077" y="643652"/>
                  </a:cubicBezTo>
                  <a:cubicBezTo>
                    <a:pt x="528727" y="643652"/>
                    <a:pt x="682555" y="400764"/>
                    <a:pt x="731133" y="327898"/>
                  </a:cubicBezTo>
                  <a:lnTo>
                    <a:pt x="810071" y="202406"/>
                  </a:lnTo>
                  <a:cubicBezTo>
                    <a:pt x="816144" y="208478"/>
                    <a:pt x="810071" y="234791"/>
                    <a:pt x="814119" y="238839"/>
                  </a:cubicBezTo>
                  <a:cubicBezTo>
                    <a:pt x="820192" y="244912"/>
                    <a:pt x="806023" y="267176"/>
                    <a:pt x="816144" y="263128"/>
                  </a:cubicBezTo>
                  <a:lnTo>
                    <a:pt x="814119" y="273248"/>
                  </a:lnTo>
                  <a:lnTo>
                    <a:pt x="820192" y="279321"/>
                  </a:lnTo>
                  <a:lnTo>
                    <a:pt x="820192" y="285393"/>
                  </a:lnTo>
                  <a:cubicBezTo>
                    <a:pt x="822216" y="295513"/>
                    <a:pt x="797927" y="356235"/>
                    <a:pt x="793879" y="358259"/>
                  </a:cubicBezTo>
                  <a:cubicBezTo>
                    <a:pt x="757446" y="443270"/>
                    <a:pt x="583376" y="724614"/>
                    <a:pt x="482173" y="724614"/>
                  </a:cubicBezTo>
                  <a:cubicBezTo>
                    <a:pt x="468005" y="724614"/>
                    <a:pt x="463957" y="724614"/>
                    <a:pt x="453836" y="720566"/>
                  </a:cubicBezTo>
                  <a:cubicBezTo>
                    <a:pt x="445740" y="716518"/>
                    <a:pt x="441692" y="716518"/>
                    <a:pt x="437644" y="712470"/>
                  </a:cubicBezTo>
                  <a:cubicBezTo>
                    <a:pt x="368826" y="686157"/>
                    <a:pt x="356681" y="603171"/>
                    <a:pt x="356681" y="536377"/>
                  </a:cubicBezTo>
                  <a:cubicBezTo>
                    <a:pt x="356681" y="461486"/>
                    <a:pt x="372874" y="380524"/>
                    <a:pt x="393114" y="307658"/>
                  </a:cubicBezTo>
                  <a:lnTo>
                    <a:pt x="391090" y="307658"/>
                  </a:lnTo>
                  <a:cubicBezTo>
                    <a:pt x="340489" y="388620"/>
                    <a:pt x="186660" y="657820"/>
                    <a:pt x="111770" y="657820"/>
                  </a:cubicBezTo>
                  <a:cubicBezTo>
                    <a:pt x="30807" y="657820"/>
                    <a:pt x="4494" y="599123"/>
                    <a:pt x="446" y="528280"/>
                  </a:cubicBezTo>
                  <a:cubicBezTo>
                    <a:pt x="-9674" y="400764"/>
                    <a:pt x="154275" y="74890"/>
                    <a:pt x="293935" y="74890"/>
                  </a:cubicBezTo>
                  <a:cubicBezTo>
                    <a:pt x="336441" y="74890"/>
                    <a:pt x="376922" y="78938"/>
                    <a:pt x="403235" y="115372"/>
                  </a:cubicBezTo>
                  <a:cubicBezTo>
                    <a:pt x="425499" y="87035"/>
                    <a:pt x="451812" y="52626"/>
                    <a:pt x="470029" y="18217"/>
                  </a:cubicBezTo>
                  <a:lnTo>
                    <a:pt x="465981" y="8096"/>
                  </a:lnTo>
                  <a:cubicBezTo>
                    <a:pt x="470029" y="4048"/>
                    <a:pt x="476101" y="0"/>
                    <a:pt x="482173" y="0"/>
                  </a:cubicBezTo>
                  <a:cubicBezTo>
                    <a:pt x="516582" y="0"/>
                    <a:pt x="571232" y="8096"/>
                    <a:pt x="571232" y="52626"/>
                  </a:cubicBezTo>
                  <a:cubicBezTo>
                    <a:pt x="571232" y="103227"/>
                    <a:pt x="550991" y="145733"/>
                    <a:pt x="536823" y="196334"/>
                  </a:cubicBezTo>
                  <a:cubicBezTo>
                    <a:pt x="498366" y="323850"/>
                    <a:pt x="461933" y="453390"/>
                    <a:pt x="461933" y="589002"/>
                  </a:cubicBezTo>
                  <a:close/>
                  <a:moveTo>
                    <a:pt x="352633" y="186214"/>
                  </a:moveTo>
                  <a:cubicBezTo>
                    <a:pt x="346561" y="176093"/>
                    <a:pt x="332393" y="157877"/>
                    <a:pt x="318224" y="157877"/>
                  </a:cubicBezTo>
                  <a:cubicBezTo>
                    <a:pt x="306080" y="157877"/>
                    <a:pt x="287863" y="170021"/>
                    <a:pt x="281791" y="176093"/>
                  </a:cubicBezTo>
                  <a:cubicBezTo>
                    <a:pt x="198804" y="255032"/>
                    <a:pt x="97601" y="451366"/>
                    <a:pt x="97601" y="562689"/>
                  </a:cubicBezTo>
                  <a:lnTo>
                    <a:pt x="99625" y="576858"/>
                  </a:lnTo>
                  <a:cubicBezTo>
                    <a:pt x="178564" y="457438"/>
                    <a:pt x="273695" y="303609"/>
                    <a:pt x="352633" y="186214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 13">
              <a:extLst>
                <a:ext uri="{FF2B5EF4-FFF2-40B4-BE49-F238E27FC236}">
                  <a16:creationId xmlns:a16="http://schemas.microsoft.com/office/drawing/2014/main" id="{BFC039B8-22BF-91F9-0F64-2A8105D7E1E7}"/>
                </a:ext>
              </a:extLst>
            </p:cNvPr>
            <p:cNvSpPr/>
            <p:nvPr/>
          </p:nvSpPr>
          <p:spPr>
            <a:xfrm>
              <a:off x="5242915" y="3091800"/>
              <a:ext cx="708791" cy="611266"/>
            </a:xfrm>
            <a:custGeom>
              <a:avLst/>
              <a:gdLst>
                <a:gd name="connsiteX0" fmla="*/ 700530 w 708791"/>
                <a:gd name="connsiteY0" fmla="*/ 194310 h 611266"/>
                <a:gd name="connsiteX1" fmla="*/ 708626 w 708791"/>
                <a:gd name="connsiteY1" fmla="*/ 216575 h 611266"/>
                <a:gd name="connsiteX2" fmla="*/ 704578 w 708791"/>
                <a:gd name="connsiteY2" fmla="*/ 279321 h 611266"/>
                <a:gd name="connsiteX3" fmla="*/ 421209 w 708791"/>
                <a:gd name="connsiteY3" fmla="*/ 611267 h 611266"/>
                <a:gd name="connsiteX4" fmla="*/ 299765 w 708791"/>
                <a:gd name="connsiteY4" fmla="*/ 475655 h 611266"/>
                <a:gd name="connsiteX5" fmla="*/ 356439 w 708791"/>
                <a:gd name="connsiteY5" fmla="*/ 149781 h 611266"/>
                <a:gd name="connsiteX6" fmla="*/ 350367 w 708791"/>
                <a:gd name="connsiteY6" fmla="*/ 149781 h 611266"/>
                <a:gd name="connsiteX7" fmla="*/ 107479 w 708791"/>
                <a:gd name="connsiteY7" fmla="*/ 564713 h 611266"/>
                <a:gd name="connsiteX8" fmla="*/ 91287 w 708791"/>
                <a:gd name="connsiteY8" fmla="*/ 611267 h 611266"/>
                <a:gd name="connsiteX9" fmla="*/ 15587 w 708791"/>
                <a:gd name="connsiteY9" fmla="*/ 591431 h 611266"/>
                <a:gd name="connsiteX10" fmla="*/ 8300 w 708791"/>
                <a:gd name="connsiteY10" fmla="*/ 580906 h 611266"/>
                <a:gd name="connsiteX11" fmla="*/ 204 w 708791"/>
                <a:gd name="connsiteY11" fmla="*/ 548521 h 611266"/>
                <a:gd name="connsiteX12" fmla="*/ 119624 w 708791"/>
                <a:gd name="connsiteY12" fmla="*/ 24289 h 611266"/>
                <a:gd name="connsiteX13" fmla="*/ 119624 w 708791"/>
                <a:gd name="connsiteY13" fmla="*/ 12144 h 611266"/>
                <a:gd name="connsiteX14" fmla="*/ 121648 w 708791"/>
                <a:gd name="connsiteY14" fmla="*/ 0 h 611266"/>
                <a:gd name="connsiteX15" fmla="*/ 176297 w 708791"/>
                <a:gd name="connsiteY15" fmla="*/ 10120 h 611266"/>
                <a:gd name="connsiteX16" fmla="*/ 188442 w 708791"/>
                <a:gd name="connsiteY16" fmla="*/ 208478 h 611266"/>
                <a:gd name="connsiteX17" fmla="*/ 186418 w 708791"/>
                <a:gd name="connsiteY17" fmla="*/ 216575 h 611266"/>
                <a:gd name="connsiteX18" fmla="*/ 364535 w 708791"/>
                <a:gd name="connsiteY18" fmla="*/ 48578 h 611266"/>
                <a:gd name="connsiteX19" fmla="*/ 453594 w 708791"/>
                <a:gd name="connsiteY19" fmla="*/ 99179 h 611266"/>
                <a:gd name="connsiteX20" fmla="*/ 457642 w 708791"/>
                <a:gd name="connsiteY20" fmla="*/ 121444 h 611266"/>
                <a:gd name="connsiteX21" fmla="*/ 417161 w 708791"/>
                <a:gd name="connsiteY21" fmla="*/ 544473 h 611266"/>
                <a:gd name="connsiteX22" fmla="*/ 419185 w 708791"/>
                <a:gd name="connsiteY22" fmla="*/ 544473 h 611266"/>
                <a:gd name="connsiteX23" fmla="*/ 639808 w 708791"/>
                <a:gd name="connsiteY23" fmla="*/ 257056 h 611266"/>
                <a:gd name="connsiteX24" fmla="*/ 696482 w 708791"/>
                <a:gd name="connsiteY24" fmla="*/ 172045 h 611266"/>
                <a:gd name="connsiteX25" fmla="*/ 700530 w 708791"/>
                <a:gd name="connsiteY25" fmla="*/ 194310 h 61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08791" h="611266">
                  <a:moveTo>
                    <a:pt x="700530" y="194310"/>
                  </a:moveTo>
                  <a:cubicBezTo>
                    <a:pt x="710650" y="198358"/>
                    <a:pt x="708626" y="206454"/>
                    <a:pt x="708626" y="216575"/>
                  </a:cubicBezTo>
                  <a:cubicBezTo>
                    <a:pt x="700530" y="236815"/>
                    <a:pt x="710650" y="257056"/>
                    <a:pt x="704578" y="279321"/>
                  </a:cubicBezTo>
                  <a:cubicBezTo>
                    <a:pt x="647904" y="390644"/>
                    <a:pt x="558845" y="582930"/>
                    <a:pt x="421209" y="611267"/>
                  </a:cubicBezTo>
                  <a:cubicBezTo>
                    <a:pt x="344295" y="611267"/>
                    <a:pt x="301789" y="556617"/>
                    <a:pt x="299765" y="475655"/>
                  </a:cubicBezTo>
                  <a:cubicBezTo>
                    <a:pt x="295717" y="374452"/>
                    <a:pt x="358463" y="204430"/>
                    <a:pt x="356439" y="149781"/>
                  </a:cubicBezTo>
                  <a:cubicBezTo>
                    <a:pt x="356439" y="139660"/>
                    <a:pt x="350367" y="149781"/>
                    <a:pt x="350367" y="149781"/>
                  </a:cubicBezTo>
                  <a:cubicBezTo>
                    <a:pt x="253212" y="277297"/>
                    <a:pt x="158081" y="412909"/>
                    <a:pt x="107479" y="564713"/>
                  </a:cubicBezTo>
                  <a:cubicBezTo>
                    <a:pt x="101407" y="586978"/>
                    <a:pt x="95335" y="605195"/>
                    <a:pt x="91287" y="611267"/>
                  </a:cubicBezTo>
                  <a:cubicBezTo>
                    <a:pt x="85215" y="611267"/>
                    <a:pt x="23683" y="595479"/>
                    <a:pt x="15587" y="591431"/>
                  </a:cubicBezTo>
                  <a:lnTo>
                    <a:pt x="8300" y="580906"/>
                  </a:lnTo>
                  <a:cubicBezTo>
                    <a:pt x="4252" y="568762"/>
                    <a:pt x="204" y="562689"/>
                    <a:pt x="204" y="548521"/>
                  </a:cubicBezTo>
                  <a:cubicBezTo>
                    <a:pt x="-5868" y="410885"/>
                    <a:pt x="125696" y="99179"/>
                    <a:pt x="119624" y="24289"/>
                  </a:cubicBezTo>
                  <a:cubicBezTo>
                    <a:pt x="119624" y="22265"/>
                    <a:pt x="119624" y="14168"/>
                    <a:pt x="119624" y="12144"/>
                  </a:cubicBezTo>
                  <a:lnTo>
                    <a:pt x="121648" y="0"/>
                  </a:lnTo>
                  <a:cubicBezTo>
                    <a:pt x="133792" y="2024"/>
                    <a:pt x="156057" y="2024"/>
                    <a:pt x="176297" y="10120"/>
                  </a:cubicBezTo>
                  <a:cubicBezTo>
                    <a:pt x="237019" y="28337"/>
                    <a:pt x="202610" y="161925"/>
                    <a:pt x="188442" y="208478"/>
                  </a:cubicBezTo>
                  <a:lnTo>
                    <a:pt x="186418" y="216575"/>
                  </a:lnTo>
                  <a:cubicBezTo>
                    <a:pt x="204634" y="194310"/>
                    <a:pt x="311910" y="50602"/>
                    <a:pt x="364535" y="48578"/>
                  </a:cubicBezTo>
                  <a:cubicBezTo>
                    <a:pt x="400968" y="52626"/>
                    <a:pt x="443474" y="74890"/>
                    <a:pt x="453594" y="99179"/>
                  </a:cubicBezTo>
                  <a:cubicBezTo>
                    <a:pt x="455618" y="103227"/>
                    <a:pt x="455618" y="113348"/>
                    <a:pt x="457642" y="121444"/>
                  </a:cubicBezTo>
                  <a:cubicBezTo>
                    <a:pt x="481931" y="206454"/>
                    <a:pt x="382752" y="431125"/>
                    <a:pt x="417161" y="544473"/>
                  </a:cubicBezTo>
                  <a:lnTo>
                    <a:pt x="419185" y="544473"/>
                  </a:lnTo>
                  <a:cubicBezTo>
                    <a:pt x="467762" y="532328"/>
                    <a:pt x="566942" y="380524"/>
                    <a:pt x="639808" y="257056"/>
                  </a:cubicBezTo>
                  <a:cubicBezTo>
                    <a:pt x="649928" y="236815"/>
                    <a:pt x="688385" y="180142"/>
                    <a:pt x="696482" y="172045"/>
                  </a:cubicBezTo>
                  <a:cubicBezTo>
                    <a:pt x="702554" y="174069"/>
                    <a:pt x="702554" y="184190"/>
                    <a:pt x="700530" y="194310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9F9899F6-A6F1-C929-5D7F-E1C51C75AFD3}"/>
                </a:ext>
              </a:extLst>
            </p:cNvPr>
            <p:cNvSpPr/>
            <p:nvPr/>
          </p:nvSpPr>
          <p:spPr>
            <a:xfrm>
              <a:off x="5829692" y="2604810"/>
              <a:ext cx="615315" cy="1182052"/>
            </a:xfrm>
            <a:custGeom>
              <a:avLst/>
              <a:gdLst>
                <a:gd name="connsiteX0" fmla="*/ 537186 w 615315"/>
                <a:gd name="connsiteY0" fmla="*/ 277701 h 1182052"/>
                <a:gd name="connsiteX1" fmla="*/ 541234 w 615315"/>
                <a:gd name="connsiteY1" fmla="*/ 272439 h 1182052"/>
                <a:gd name="connsiteX2" fmla="*/ 545282 w 615315"/>
                <a:gd name="connsiteY2" fmla="*/ 270415 h 1182052"/>
                <a:gd name="connsiteX3" fmla="*/ 549735 w 615315"/>
                <a:gd name="connsiteY3" fmla="*/ 270415 h 1182052"/>
                <a:gd name="connsiteX4" fmla="*/ 552164 w 615315"/>
                <a:gd name="connsiteY4" fmla="*/ 270820 h 1182052"/>
                <a:gd name="connsiteX5" fmla="*/ 559046 w 615315"/>
                <a:gd name="connsiteY5" fmla="*/ 272439 h 1182052"/>
                <a:gd name="connsiteX6" fmla="*/ 585764 w 615315"/>
                <a:gd name="connsiteY6" fmla="*/ 268795 h 1182052"/>
                <a:gd name="connsiteX7" fmla="*/ 588598 w 615315"/>
                <a:gd name="connsiteY7" fmla="*/ 268795 h 1182052"/>
                <a:gd name="connsiteX8" fmla="*/ 603980 w 615315"/>
                <a:gd name="connsiteY8" fmla="*/ 277701 h 1182052"/>
                <a:gd name="connsiteX9" fmla="*/ 606409 w 615315"/>
                <a:gd name="connsiteY9" fmla="*/ 278106 h 1182052"/>
                <a:gd name="connsiteX10" fmla="*/ 609243 w 615315"/>
                <a:gd name="connsiteY10" fmla="*/ 278106 h 1182052"/>
                <a:gd name="connsiteX11" fmla="*/ 611672 w 615315"/>
                <a:gd name="connsiteY11" fmla="*/ 278916 h 1182052"/>
                <a:gd name="connsiteX12" fmla="*/ 615315 w 615315"/>
                <a:gd name="connsiteY12" fmla="*/ 283773 h 1182052"/>
                <a:gd name="connsiteX13" fmla="*/ 615315 w 615315"/>
                <a:gd name="connsiteY13" fmla="*/ 284988 h 1182052"/>
                <a:gd name="connsiteX14" fmla="*/ 614910 w 615315"/>
                <a:gd name="connsiteY14" fmla="*/ 287012 h 1182052"/>
                <a:gd name="connsiteX15" fmla="*/ 569166 w 615315"/>
                <a:gd name="connsiteY15" fmla="*/ 382953 h 1182052"/>
                <a:gd name="connsiteX16" fmla="*/ 568762 w 615315"/>
                <a:gd name="connsiteY16" fmla="*/ 383357 h 1182052"/>
                <a:gd name="connsiteX17" fmla="*/ 365141 w 615315"/>
                <a:gd name="connsiteY17" fmla="*/ 619363 h 1182052"/>
                <a:gd name="connsiteX18" fmla="*/ 363927 w 615315"/>
                <a:gd name="connsiteY18" fmla="*/ 619768 h 1182052"/>
                <a:gd name="connsiteX19" fmla="*/ 207264 w 615315"/>
                <a:gd name="connsiteY19" fmla="*/ 791813 h 1182052"/>
                <a:gd name="connsiteX20" fmla="*/ 206859 w 615315"/>
                <a:gd name="connsiteY20" fmla="*/ 795052 h 1182052"/>
                <a:gd name="connsiteX21" fmla="*/ 429101 w 615315"/>
                <a:gd name="connsiteY21" fmla="*/ 1022152 h 1182052"/>
                <a:gd name="connsiteX22" fmla="*/ 453390 w 615315"/>
                <a:gd name="connsiteY22" fmla="*/ 1022152 h 1182052"/>
                <a:gd name="connsiteX23" fmla="*/ 460272 w 615315"/>
                <a:gd name="connsiteY23" fmla="*/ 1022152 h 1182052"/>
                <a:gd name="connsiteX24" fmla="*/ 461891 w 615315"/>
                <a:gd name="connsiteY24" fmla="*/ 1032272 h 1182052"/>
                <a:gd name="connsiteX25" fmla="*/ 461486 w 615315"/>
                <a:gd name="connsiteY25" fmla="*/ 1032272 h 1182052"/>
                <a:gd name="connsiteX26" fmla="*/ 384167 w 615315"/>
                <a:gd name="connsiteY26" fmla="*/ 1052917 h 1182052"/>
                <a:gd name="connsiteX27" fmla="*/ 317778 w 615315"/>
                <a:gd name="connsiteY27" fmla="*/ 1053727 h 1182052"/>
                <a:gd name="connsiteX28" fmla="*/ 143708 w 615315"/>
                <a:gd name="connsiteY28" fmla="*/ 911233 h 1182052"/>
                <a:gd name="connsiteX29" fmla="*/ 134398 w 615315"/>
                <a:gd name="connsiteY29" fmla="*/ 912447 h 1182052"/>
                <a:gd name="connsiteX30" fmla="*/ 95131 w 615315"/>
                <a:gd name="connsiteY30" fmla="*/ 1084493 h 1182052"/>
                <a:gd name="connsiteX31" fmla="*/ 112538 w 615315"/>
                <a:gd name="connsiteY31" fmla="*/ 1159383 h 1182052"/>
                <a:gd name="connsiteX32" fmla="*/ 74890 w 615315"/>
                <a:gd name="connsiteY32" fmla="*/ 1182053 h 1182052"/>
                <a:gd name="connsiteX33" fmla="*/ 0 w 615315"/>
                <a:gd name="connsiteY33" fmla="*/ 1007983 h 1182052"/>
                <a:gd name="connsiteX34" fmla="*/ 80963 w 615315"/>
                <a:gd name="connsiteY34" fmla="*/ 661868 h 1182052"/>
                <a:gd name="connsiteX35" fmla="*/ 279321 w 615315"/>
                <a:gd name="connsiteY35" fmla="*/ 25098 h 1182052"/>
                <a:gd name="connsiteX36" fmla="*/ 279321 w 615315"/>
                <a:gd name="connsiteY36" fmla="*/ 23479 h 1182052"/>
                <a:gd name="connsiteX37" fmla="*/ 280535 w 615315"/>
                <a:gd name="connsiteY37" fmla="*/ 16597 h 1182052"/>
                <a:gd name="connsiteX38" fmla="*/ 282964 w 615315"/>
                <a:gd name="connsiteY38" fmla="*/ 12954 h 1182052"/>
                <a:gd name="connsiteX39" fmla="*/ 325469 w 615315"/>
                <a:gd name="connsiteY39" fmla="*/ 0 h 1182052"/>
                <a:gd name="connsiteX40" fmla="*/ 359878 w 615315"/>
                <a:gd name="connsiteY40" fmla="*/ 50602 h 1182052"/>
                <a:gd name="connsiteX41" fmla="*/ 222242 w 615315"/>
                <a:gd name="connsiteY41" fmla="*/ 597098 h 1182052"/>
                <a:gd name="connsiteX42" fmla="*/ 220218 w 615315"/>
                <a:gd name="connsiteY42" fmla="*/ 597098 h 1182052"/>
                <a:gd name="connsiteX43" fmla="*/ 222242 w 615315"/>
                <a:gd name="connsiteY43" fmla="*/ 599123 h 1182052"/>
                <a:gd name="connsiteX44" fmla="*/ 535567 w 615315"/>
                <a:gd name="connsiteY44" fmla="*/ 278106 h 1182052"/>
                <a:gd name="connsiteX45" fmla="*/ 537186 w 615315"/>
                <a:gd name="connsiteY45" fmla="*/ 277701 h 1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5315" h="1182052">
                  <a:moveTo>
                    <a:pt x="537186" y="277701"/>
                  </a:moveTo>
                  <a:lnTo>
                    <a:pt x="541234" y="272439"/>
                  </a:lnTo>
                  <a:cubicBezTo>
                    <a:pt x="542044" y="271224"/>
                    <a:pt x="543663" y="270415"/>
                    <a:pt x="545282" y="270415"/>
                  </a:cubicBezTo>
                  <a:lnTo>
                    <a:pt x="549735" y="270415"/>
                  </a:lnTo>
                  <a:cubicBezTo>
                    <a:pt x="550545" y="270415"/>
                    <a:pt x="551354" y="270415"/>
                    <a:pt x="552164" y="270820"/>
                  </a:cubicBezTo>
                  <a:cubicBezTo>
                    <a:pt x="554998" y="272439"/>
                    <a:pt x="555403" y="272439"/>
                    <a:pt x="559046" y="272439"/>
                  </a:cubicBezTo>
                  <a:cubicBezTo>
                    <a:pt x="568357" y="272439"/>
                    <a:pt x="578072" y="270820"/>
                    <a:pt x="585764" y="268795"/>
                  </a:cubicBezTo>
                  <a:cubicBezTo>
                    <a:pt x="586573" y="268391"/>
                    <a:pt x="587788" y="268391"/>
                    <a:pt x="588598" y="268795"/>
                  </a:cubicBezTo>
                  <a:cubicBezTo>
                    <a:pt x="593455" y="270820"/>
                    <a:pt x="597503" y="274463"/>
                    <a:pt x="603980" y="277701"/>
                  </a:cubicBezTo>
                  <a:cubicBezTo>
                    <a:pt x="604790" y="278106"/>
                    <a:pt x="605599" y="278106"/>
                    <a:pt x="606409" y="278106"/>
                  </a:cubicBezTo>
                  <a:lnTo>
                    <a:pt x="609243" y="278106"/>
                  </a:lnTo>
                  <a:lnTo>
                    <a:pt x="611672" y="278916"/>
                  </a:lnTo>
                  <a:cubicBezTo>
                    <a:pt x="613696" y="279725"/>
                    <a:pt x="615315" y="281749"/>
                    <a:pt x="615315" y="283773"/>
                  </a:cubicBezTo>
                  <a:lnTo>
                    <a:pt x="615315" y="284988"/>
                  </a:lnTo>
                  <a:cubicBezTo>
                    <a:pt x="615315" y="285798"/>
                    <a:pt x="615315" y="286607"/>
                    <a:pt x="614910" y="287012"/>
                  </a:cubicBezTo>
                  <a:cubicBezTo>
                    <a:pt x="599123" y="321016"/>
                    <a:pt x="584954" y="350972"/>
                    <a:pt x="569166" y="382953"/>
                  </a:cubicBezTo>
                  <a:cubicBezTo>
                    <a:pt x="569166" y="382953"/>
                    <a:pt x="569166" y="383357"/>
                    <a:pt x="568762" y="383357"/>
                  </a:cubicBezTo>
                  <a:cubicBezTo>
                    <a:pt x="546092" y="418171"/>
                    <a:pt x="398336" y="592241"/>
                    <a:pt x="365141" y="619363"/>
                  </a:cubicBezTo>
                  <a:cubicBezTo>
                    <a:pt x="364736" y="619768"/>
                    <a:pt x="364331" y="619768"/>
                    <a:pt x="363927" y="619768"/>
                  </a:cubicBezTo>
                  <a:cubicBezTo>
                    <a:pt x="350163" y="626245"/>
                    <a:pt x="220623" y="765096"/>
                    <a:pt x="207264" y="791813"/>
                  </a:cubicBezTo>
                  <a:cubicBezTo>
                    <a:pt x="206859" y="793028"/>
                    <a:pt x="206454" y="793837"/>
                    <a:pt x="206859" y="795052"/>
                  </a:cubicBezTo>
                  <a:cubicBezTo>
                    <a:pt x="227504" y="903946"/>
                    <a:pt x="306443" y="1022152"/>
                    <a:pt x="429101" y="1022152"/>
                  </a:cubicBezTo>
                  <a:cubicBezTo>
                    <a:pt x="441246" y="1022152"/>
                    <a:pt x="447318" y="1022152"/>
                    <a:pt x="453390" y="1022152"/>
                  </a:cubicBezTo>
                  <a:cubicBezTo>
                    <a:pt x="455414" y="1022152"/>
                    <a:pt x="457843" y="1022152"/>
                    <a:pt x="460272" y="1022152"/>
                  </a:cubicBezTo>
                  <a:cubicBezTo>
                    <a:pt x="466344" y="1021747"/>
                    <a:pt x="467963" y="1030653"/>
                    <a:pt x="461891" y="1032272"/>
                  </a:cubicBezTo>
                  <a:cubicBezTo>
                    <a:pt x="461891" y="1032272"/>
                    <a:pt x="461891" y="1032272"/>
                    <a:pt x="461486" y="1032272"/>
                  </a:cubicBezTo>
                  <a:cubicBezTo>
                    <a:pt x="460272" y="1033486"/>
                    <a:pt x="413313" y="1045226"/>
                    <a:pt x="384167" y="1052917"/>
                  </a:cubicBezTo>
                  <a:cubicBezTo>
                    <a:pt x="362307" y="1058180"/>
                    <a:pt x="339638" y="1058989"/>
                    <a:pt x="317778" y="1053727"/>
                  </a:cubicBezTo>
                  <a:cubicBezTo>
                    <a:pt x="242888" y="1035915"/>
                    <a:pt x="187833" y="972764"/>
                    <a:pt x="143708" y="911233"/>
                  </a:cubicBezTo>
                  <a:cubicBezTo>
                    <a:pt x="141280" y="907590"/>
                    <a:pt x="136017" y="908399"/>
                    <a:pt x="134398" y="912447"/>
                  </a:cubicBezTo>
                  <a:cubicBezTo>
                    <a:pt x="116991" y="966692"/>
                    <a:pt x="95536" y="1031462"/>
                    <a:pt x="95131" y="1084493"/>
                  </a:cubicBezTo>
                  <a:cubicBezTo>
                    <a:pt x="95131" y="1085707"/>
                    <a:pt x="104847" y="1155335"/>
                    <a:pt x="112538" y="1159383"/>
                  </a:cubicBezTo>
                  <a:cubicBezTo>
                    <a:pt x="112943" y="1159788"/>
                    <a:pt x="89059" y="1182053"/>
                    <a:pt x="74890" y="1182053"/>
                  </a:cubicBezTo>
                  <a:cubicBezTo>
                    <a:pt x="22265" y="1182053"/>
                    <a:pt x="0" y="1050489"/>
                    <a:pt x="0" y="1007983"/>
                  </a:cubicBezTo>
                  <a:cubicBezTo>
                    <a:pt x="0" y="935117"/>
                    <a:pt x="36433" y="803553"/>
                    <a:pt x="80963" y="661868"/>
                  </a:cubicBezTo>
                  <a:cubicBezTo>
                    <a:pt x="165163" y="381333"/>
                    <a:pt x="280940" y="53030"/>
                    <a:pt x="279321" y="25098"/>
                  </a:cubicBezTo>
                  <a:cubicBezTo>
                    <a:pt x="279321" y="24693"/>
                    <a:pt x="279321" y="24289"/>
                    <a:pt x="279321" y="23479"/>
                  </a:cubicBezTo>
                  <a:lnTo>
                    <a:pt x="280535" y="16597"/>
                  </a:lnTo>
                  <a:cubicBezTo>
                    <a:pt x="280940" y="14978"/>
                    <a:pt x="281749" y="13764"/>
                    <a:pt x="282964" y="12954"/>
                  </a:cubicBezTo>
                  <a:cubicBezTo>
                    <a:pt x="296323" y="5263"/>
                    <a:pt x="308062" y="0"/>
                    <a:pt x="325469" y="0"/>
                  </a:cubicBezTo>
                  <a:cubicBezTo>
                    <a:pt x="359878" y="0"/>
                    <a:pt x="359878" y="24289"/>
                    <a:pt x="359878" y="50602"/>
                  </a:cubicBezTo>
                  <a:cubicBezTo>
                    <a:pt x="359878" y="242888"/>
                    <a:pt x="268796" y="414933"/>
                    <a:pt x="222242" y="597098"/>
                  </a:cubicBezTo>
                  <a:lnTo>
                    <a:pt x="220218" y="597098"/>
                  </a:lnTo>
                  <a:lnTo>
                    <a:pt x="222242" y="599123"/>
                  </a:lnTo>
                  <a:cubicBezTo>
                    <a:pt x="270414" y="550950"/>
                    <a:pt x="520994" y="322636"/>
                    <a:pt x="535567" y="278106"/>
                  </a:cubicBezTo>
                  <a:cubicBezTo>
                    <a:pt x="536781" y="278916"/>
                    <a:pt x="536781" y="278106"/>
                    <a:pt x="537186" y="277701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E79BDEB5-A786-057C-B958-029AE34D0A32}"/>
                </a:ext>
              </a:extLst>
            </p:cNvPr>
            <p:cNvSpPr/>
            <p:nvPr/>
          </p:nvSpPr>
          <p:spPr>
            <a:xfrm>
              <a:off x="6325491" y="3055367"/>
              <a:ext cx="583431" cy="688181"/>
            </a:xfrm>
            <a:custGeom>
              <a:avLst/>
              <a:gdLst>
                <a:gd name="connsiteX0" fmla="*/ 583432 w 583431"/>
                <a:gd name="connsiteY0" fmla="*/ 263128 h 688181"/>
                <a:gd name="connsiteX1" fmla="*/ 583432 w 583431"/>
                <a:gd name="connsiteY1" fmla="*/ 267176 h 688181"/>
                <a:gd name="connsiteX2" fmla="*/ 553071 w 583431"/>
                <a:gd name="connsiteY2" fmla="*/ 333970 h 688181"/>
                <a:gd name="connsiteX3" fmla="*/ 186715 w 583431"/>
                <a:gd name="connsiteY3" fmla="*/ 688181 h 688181"/>
                <a:gd name="connsiteX4" fmla="*/ 172547 w 583431"/>
                <a:gd name="connsiteY4" fmla="*/ 686157 h 688181"/>
                <a:gd name="connsiteX5" fmla="*/ 502 w 583431"/>
                <a:gd name="connsiteY5" fmla="*/ 463510 h 688181"/>
                <a:gd name="connsiteX6" fmla="*/ 225173 w 583431"/>
                <a:gd name="connsiteY6" fmla="*/ 10120 h 688181"/>
                <a:gd name="connsiteX7" fmla="*/ 229221 w 583431"/>
                <a:gd name="connsiteY7" fmla="*/ 4048 h 688181"/>
                <a:gd name="connsiteX8" fmla="*/ 265654 w 583431"/>
                <a:gd name="connsiteY8" fmla="*/ 0 h 688181"/>
                <a:gd name="connsiteX9" fmla="*/ 342568 w 583431"/>
                <a:gd name="connsiteY9" fmla="*/ 22265 h 688181"/>
                <a:gd name="connsiteX10" fmla="*/ 403290 w 583431"/>
                <a:gd name="connsiteY10" fmla="*/ 95131 h 688181"/>
                <a:gd name="connsiteX11" fmla="*/ 164451 w 583431"/>
                <a:gd name="connsiteY11" fmla="*/ 289441 h 688181"/>
                <a:gd name="connsiteX12" fmla="*/ 162427 w 583431"/>
                <a:gd name="connsiteY12" fmla="*/ 611267 h 688181"/>
                <a:gd name="connsiteX13" fmla="*/ 498421 w 583431"/>
                <a:gd name="connsiteY13" fmla="*/ 307658 h 688181"/>
                <a:gd name="connsiteX14" fmla="*/ 564406 w 583431"/>
                <a:gd name="connsiteY14" fmla="*/ 211717 h 688181"/>
                <a:gd name="connsiteX15" fmla="*/ 582217 w 583431"/>
                <a:gd name="connsiteY15" fmla="*/ 218194 h 688181"/>
                <a:gd name="connsiteX16" fmla="*/ 583432 w 583431"/>
                <a:gd name="connsiteY16" fmla="*/ 263128 h 688181"/>
                <a:gd name="connsiteX17" fmla="*/ 200884 w 583431"/>
                <a:gd name="connsiteY17" fmla="*/ 210503 h 688181"/>
                <a:gd name="connsiteX18" fmla="*/ 298039 w 583431"/>
                <a:gd name="connsiteY18" fmla="*/ 76914 h 688181"/>
                <a:gd name="connsiteX19" fmla="*/ 200884 w 583431"/>
                <a:gd name="connsiteY19" fmla="*/ 210503 h 68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3431" h="688181">
                  <a:moveTo>
                    <a:pt x="583432" y="263128"/>
                  </a:moveTo>
                  <a:cubicBezTo>
                    <a:pt x="583432" y="264343"/>
                    <a:pt x="583432" y="265962"/>
                    <a:pt x="583432" y="267176"/>
                  </a:cubicBezTo>
                  <a:cubicBezTo>
                    <a:pt x="580598" y="292679"/>
                    <a:pt x="561167" y="314135"/>
                    <a:pt x="553071" y="333970"/>
                  </a:cubicBezTo>
                  <a:cubicBezTo>
                    <a:pt x="502469" y="467558"/>
                    <a:pt x="302087" y="688181"/>
                    <a:pt x="186715" y="688181"/>
                  </a:cubicBezTo>
                  <a:cubicBezTo>
                    <a:pt x="180643" y="688181"/>
                    <a:pt x="176595" y="686157"/>
                    <a:pt x="172547" y="686157"/>
                  </a:cubicBezTo>
                  <a:cubicBezTo>
                    <a:pt x="43007" y="667941"/>
                    <a:pt x="-5571" y="591026"/>
                    <a:pt x="502" y="463510"/>
                  </a:cubicBezTo>
                  <a:cubicBezTo>
                    <a:pt x="8598" y="323850"/>
                    <a:pt x="119921" y="91083"/>
                    <a:pt x="225173" y="10120"/>
                  </a:cubicBezTo>
                  <a:lnTo>
                    <a:pt x="229221" y="4048"/>
                  </a:lnTo>
                  <a:cubicBezTo>
                    <a:pt x="231245" y="0"/>
                    <a:pt x="257558" y="0"/>
                    <a:pt x="265654" y="0"/>
                  </a:cubicBezTo>
                  <a:cubicBezTo>
                    <a:pt x="279822" y="0"/>
                    <a:pt x="330424" y="16193"/>
                    <a:pt x="342568" y="22265"/>
                  </a:cubicBezTo>
                  <a:cubicBezTo>
                    <a:pt x="383049" y="34409"/>
                    <a:pt x="403290" y="48578"/>
                    <a:pt x="403290" y="95131"/>
                  </a:cubicBezTo>
                  <a:cubicBezTo>
                    <a:pt x="403290" y="279321"/>
                    <a:pt x="178619" y="287417"/>
                    <a:pt x="164451" y="289441"/>
                  </a:cubicBezTo>
                  <a:cubicBezTo>
                    <a:pt x="138138" y="340043"/>
                    <a:pt x="49079" y="611267"/>
                    <a:pt x="162427" y="611267"/>
                  </a:cubicBezTo>
                  <a:cubicBezTo>
                    <a:pt x="257558" y="611267"/>
                    <a:pt x="441747" y="390644"/>
                    <a:pt x="498421" y="307658"/>
                  </a:cubicBezTo>
                  <a:cubicBezTo>
                    <a:pt x="510970" y="288631"/>
                    <a:pt x="541331" y="238435"/>
                    <a:pt x="564406" y="211717"/>
                  </a:cubicBezTo>
                  <a:cubicBezTo>
                    <a:pt x="570478" y="204835"/>
                    <a:pt x="581812" y="208883"/>
                    <a:pt x="582217" y="218194"/>
                  </a:cubicBezTo>
                  <a:cubicBezTo>
                    <a:pt x="582217" y="235196"/>
                    <a:pt x="583027" y="256246"/>
                    <a:pt x="583432" y="263128"/>
                  </a:cubicBezTo>
                  <a:close/>
                  <a:moveTo>
                    <a:pt x="200884" y="210503"/>
                  </a:moveTo>
                  <a:cubicBezTo>
                    <a:pt x="285894" y="192286"/>
                    <a:pt x="340544" y="119420"/>
                    <a:pt x="298039" y="76914"/>
                  </a:cubicBezTo>
                  <a:cubicBezTo>
                    <a:pt x="281846" y="87035"/>
                    <a:pt x="225173" y="167997"/>
                    <a:pt x="200884" y="210503"/>
                  </a:cubicBezTo>
                  <a:close/>
                </a:path>
              </a:pathLst>
            </a:custGeom>
            <a:grpFill/>
            <a:ln w="40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409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C4CFBDBB-0265-42A8-611F-3241857B1938}"/>
              </a:ext>
            </a:extLst>
          </p:cNvPr>
          <p:cNvSpPr txBox="1"/>
          <p:nvPr userDrawn="1"/>
        </p:nvSpPr>
        <p:spPr>
          <a:xfrm>
            <a:off x="5926055" y="4255992"/>
            <a:ext cx="3936610" cy="62670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180000" tIns="36000" rIns="180000" bIns="3600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30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Soleil Lt" panose="00000400000000000000" pitchFamily="50" charset="0"/>
              <a:buNone/>
              <a:defRPr sz="3000"/>
            </a:lvl2pPr>
            <a:lvl3pPr marL="270000" indent="-270000">
              <a:lnSpc>
                <a:spcPct val="100000"/>
              </a:lnSpc>
              <a:spcBef>
                <a:spcPts val="900"/>
              </a:spcBef>
              <a:buClr>
                <a:schemeClr val="accent2"/>
              </a:buClr>
              <a:buFont typeface="Soleil Lt" panose="00000400000000000000" pitchFamily="50" charset="0"/>
              <a:buChar char="»"/>
              <a:defRPr sz="3000"/>
            </a:lvl3pPr>
            <a:lvl4pPr marL="538163" indent="-271463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3000"/>
            </a:lvl4pPr>
            <a:lvl5pPr marL="810000" indent="-27000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30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rtl="0"/>
            <a:r>
              <a:rPr lang="de-AT" sz="3600" dirty="0">
                <a:solidFill>
                  <a:schemeClr val="accent2"/>
                </a:solidFill>
              </a:rPr>
              <a:t>für Ihr Interesse!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EB53846-9F68-0888-A7A3-48A65C929B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  <a:solidFill>
            <a:schemeClr val="bg1">
              <a:alpha val="92000"/>
            </a:schemeClr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55C6118C-4049-1239-91F4-036A5FEB707D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grpFill/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AF8E28DC-2F88-52A3-4EBE-D48D4CE8E8E0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grpFill/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FBCB1154-181C-F5C6-C82F-F4DE013A269F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grpFill/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C6D4ADA9-7EB2-DC0F-A8F5-2D66D77F570B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grpFill/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1123752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E8A05ED-183A-333A-A276-2BFBDAB2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77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E8A05ED-183A-333A-A276-2BFBDAB2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D6D41FB7-C0A7-1BE7-5400-98A82412C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50524" y="4785186"/>
            <a:ext cx="3890615" cy="492443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1600">
                <a:latin typeface="+mj-lt"/>
              </a:defRPr>
            </a:lvl1pPr>
            <a:lvl2pPr marL="0" indent="0" algn="l" rtl="0">
              <a:spcBef>
                <a:spcPts val="0"/>
              </a:spcBef>
              <a:buNone/>
              <a:defRPr sz="1600">
                <a:solidFill>
                  <a:schemeClr val="accent2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Vorname Nachname</a:t>
            </a:r>
          </a:p>
          <a:p>
            <a:pPr lvl="1"/>
            <a:r>
              <a:rPr lang="de-AT" dirty="0"/>
              <a:t>Posi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FEACE89-75D4-BBDB-1D00-F18282311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50523" y="5564160"/>
            <a:ext cx="3890616" cy="492443"/>
          </a:xfrm>
        </p:spPr>
        <p:txBody>
          <a:bodyPr anchor="t"/>
          <a:lstStyle>
            <a:lvl1pPr rtl="0"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/>
              <a:t>+43 XXX XXX XX XX</a:t>
            </a:r>
            <a:br>
              <a:rPr lang="de-AT"/>
            </a:br>
            <a:r>
              <a:rPr lang="de-AT"/>
              <a:t>vorname.nachname@pv.at</a:t>
            </a:r>
            <a:endParaRPr lang="de-AT" dirty="0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78433B3A-A32C-6DD7-CA8D-1AE5A4A8FF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809608" cy="6858000"/>
          </a:xfrm>
          <a:custGeom>
            <a:avLst/>
            <a:gdLst>
              <a:gd name="connsiteX0" fmla="*/ 0 w 7809608"/>
              <a:gd name="connsiteY0" fmla="*/ 0 h 6858000"/>
              <a:gd name="connsiteX1" fmla="*/ 5626467 w 7809608"/>
              <a:gd name="connsiteY1" fmla="*/ 0 h 6858000"/>
              <a:gd name="connsiteX2" fmla="*/ 5626467 w 7809608"/>
              <a:gd name="connsiteY2" fmla="*/ 1 h 6858000"/>
              <a:gd name="connsiteX3" fmla="*/ 7072476 w 7809608"/>
              <a:gd name="connsiteY3" fmla="*/ 1 h 6858000"/>
              <a:gd name="connsiteX4" fmla="*/ 7093049 w 7809608"/>
              <a:gd name="connsiteY4" fmla="*/ 40585 h 6858000"/>
              <a:gd name="connsiteX5" fmla="*/ 7809608 w 7809608"/>
              <a:gd name="connsiteY5" fmla="*/ 3223531 h 6858000"/>
              <a:gd name="connsiteX6" fmla="*/ 6932577 w 7809608"/>
              <a:gd name="connsiteY6" fmla="*/ 6723037 h 6858000"/>
              <a:gd name="connsiteX7" fmla="*/ 6855769 w 7809608"/>
              <a:gd name="connsiteY7" fmla="*/ 6858000 h 6858000"/>
              <a:gd name="connsiteX8" fmla="*/ 5626467 w 7809608"/>
              <a:gd name="connsiteY8" fmla="*/ 6858000 h 6858000"/>
              <a:gd name="connsiteX9" fmla="*/ 0 w 7809608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09608" h="6858000">
                <a:moveTo>
                  <a:pt x="0" y="0"/>
                </a:moveTo>
                <a:lnTo>
                  <a:pt x="5626467" y="0"/>
                </a:lnTo>
                <a:lnTo>
                  <a:pt x="5626467" y="1"/>
                </a:lnTo>
                <a:lnTo>
                  <a:pt x="7072476" y="1"/>
                </a:lnTo>
                <a:lnTo>
                  <a:pt x="7093049" y="40585"/>
                </a:lnTo>
                <a:cubicBezTo>
                  <a:pt x="7552264" y="1003474"/>
                  <a:pt x="7809608" y="2083139"/>
                  <a:pt x="7809608" y="3223531"/>
                </a:cubicBezTo>
                <a:cubicBezTo>
                  <a:pt x="7809608" y="4490633"/>
                  <a:pt x="7491899" y="5682763"/>
                  <a:pt x="6932577" y="6723037"/>
                </a:cubicBezTo>
                <a:lnTo>
                  <a:pt x="6855769" y="6858000"/>
                </a:lnTo>
                <a:lnTo>
                  <a:pt x="562646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8D7DE"/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0730D-3121-8A3A-DA2B-1559ECD6EF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2150" y="3429000"/>
            <a:ext cx="2678252" cy="565146"/>
          </a:xfrm>
          <a:solidFill>
            <a:schemeClr val="accent2"/>
          </a:solidFill>
        </p:spPr>
        <p:txBody>
          <a:bodyPr vert="horz" wrap="none" lIns="180000" tIns="36000" rIns="180000" bIns="36000" anchor="ctr"/>
          <a:lstStyle>
            <a:lvl1pPr algn="l" rtl="0">
              <a:lnSpc>
                <a:spcPct val="100000"/>
              </a:lnSpc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r>
              <a:rPr lang="de-AT"/>
              <a:t>Vielen Dank</a:t>
            </a:r>
            <a:endParaRPr lang="de-AT" dirty="0"/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B6327412-8000-82EC-0835-C8794E184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71607" y="4046645"/>
            <a:ext cx="3532653" cy="565146"/>
          </a:xfrm>
          <a:solidFill>
            <a:schemeClr val="accent2"/>
          </a:solidFill>
        </p:spPr>
        <p:txBody>
          <a:bodyPr wrap="none" lIns="180000" tIns="36000" rIns="180000" bIns="36000" anchor="ctr"/>
          <a:lstStyle>
            <a:lvl1pPr rtl="0"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 dirty="0"/>
              <a:t>für Ihr Interesse!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122A2DA-38CD-A8B8-FC72-7447205F72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FBAA33FC-9045-8158-798F-ABC533AAC317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01F806-0A3C-78BF-3DDC-5029CB9B09DF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967C9E33-CD54-813B-49ED-7DA7D1B695E0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C64F3E63-CAE1-23F3-C8A6-C27282AFB2C4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solidFill>
              <a:srgbClr val="96AAD2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3E0921C4-684A-2A4C-91BB-039169F91E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486002"/>
            <a:ext cx="5772150" cy="371998"/>
          </a:xfrm>
        </p:spPr>
        <p:txBody>
          <a:bodyPr wrap="square" lIns="108000" tIns="108000" rIns="108000" bIns="108000" anchor="ctr"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127155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63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E8A05ED-183A-333A-A276-2BFBDAB2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77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E8A05ED-183A-333A-A276-2BFBDAB2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D6D41FB7-C0A7-1BE7-5400-98A82412C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8999" y="4785186"/>
            <a:ext cx="4662139" cy="492443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1600"/>
            </a:lvl1pPr>
            <a:lvl2pPr marL="0" indent="0" algn="l" rtl="0">
              <a:spcBef>
                <a:spcPts val="0"/>
              </a:spcBef>
              <a:buNone/>
              <a:defRPr sz="1600">
                <a:solidFill>
                  <a:schemeClr val="accent2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Vorname Nachname</a:t>
            </a:r>
          </a:p>
          <a:p>
            <a:pPr lvl="1"/>
            <a:r>
              <a:rPr lang="de-AT" dirty="0"/>
              <a:t>Posi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FEACE89-75D4-BBDB-1D00-F18282311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8998" y="5564160"/>
            <a:ext cx="4662140" cy="492443"/>
          </a:xfrm>
        </p:spPr>
        <p:txBody>
          <a:bodyPr anchor="t"/>
          <a:lstStyle>
            <a:lvl1pPr rtl="0"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 dirty="0"/>
              <a:t>+43 XXX </a:t>
            </a:r>
            <a:r>
              <a:rPr lang="de-AT" dirty="0" err="1"/>
              <a:t>XXX</a:t>
            </a:r>
            <a:r>
              <a:rPr lang="de-AT" dirty="0"/>
              <a:t> XX </a:t>
            </a:r>
            <a:r>
              <a:rPr lang="de-AT" dirty="0" err="1"/>
              <a:t>XX</a:t>
            </a:r>
            <a:br>
              <a:rPr lang="de-AT" dirty="0"/>
            </a:br>
            <a:r>
              <a:rPr lang="de-AT" dirty="0"/>
              <a:t>vorname.nachname@pv.at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78433B3A-A32C-6DD7-CA8D-1AE5A4A8FF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562725" cy="6858000"/>
          </a:xfrm>
          <a:prstGeom prst="rect">
            <a:avLst/>
          </a:prstGeom>
          <a:solidFill>
            <a:srgbClr val="D8D7DE"/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0730D-3121-8A3A-DA2B-1559ECD6EF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2150" y="3429000"/>
            <a:ext cx="2678252" cy="565146"/>
          </a:xfrm>
          <a:solidFill>
            <a:schemeClr val="accent2"/>
          </a:solidFill>
        </p:spPr>
        <p:txBody>
          <a:bodyPr vert="horz" wrap="none" lIns="180000" tIns="36000" rIns="180000" bIns="36000" anchor="ctr"/>
          <a:lstStyle>
            <a:lvl1pPr algn="l" rtl="0">
              <a:lnSpc>
                <a:spcPct val="100000"/>
              </a:lnSpc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r>
              <a:rPr lang="de-AT" dirty="0"/>
              <a:t>Vielen Dank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B6327412-8000-82EC-0835-C8794E184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71607" y="4046645"/>
            <a:ext cx="3532653" cy="565146"/>
          </a:xfrm>
          <a:solidFill>
            <a:schemeClr val="accent2"/>
          </a:solidFill>
        </p:spPr>
        <p:txBody>
          <a:bodyPr wrap="none" lIns="180000" tIns="36000" rIns="180000" bIns="36000" anchor="ctr"/>
          <a:lstStyle>
            <a:lvl1pPr rtl="0">
              <a:defRPr sz="32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/>
              <a:t>für Ihr Interesse!</a:t>
            </a:r>
            <a:endParaRPr lang="de-AT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248E51F-6C41-91E7-BE03-BDE7CDD33DD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23A02836-DC7E-103B-DD52-34CFB1EDE000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E5B76F8E-BF8C-80EF-BFC0-6AF099D12940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F8B379D6-72C7-972C-D0C9-FE6605A388CC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0BF7041B-D1CF-68BE-AEC8-7D5DEBD54953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solidFill>
              <a:srgbClr val="96AAD2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5D7A626C-9291-A141-B4FC-493F8EAB39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486002"/>
            <a:ext cx="5772150" cy="371998"/>
          </a:xfrm>
        </p:spPr>
        <p:txBody>
          <a:bodyPr wrap="square" lIns="108000" tIns="108000" rIns="108000" bIns="108000" anchor="ctr"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898871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6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E8A05ED-183A-333A-A276-2BFBDAB2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644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E8A05ED-183A-333A-A276-2BFBDAB2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FEACE89-75D4-BBDB-1D00-F18282311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62900" y="6237265"/>
            <a:ext cx="3678239" cy="184666"/>
          </a:xfrm>
        </p:spPr>
        <p:txBody>
          <a:bodyPr anchor="b">
            <a:spAutoFit/>
          </a:bodyPr>
          <a:lstStyle>
            <a:lvl1pPr rtl="0"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 dirty="0"/>
              <a:t>Ort, TT. Monat YYYY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78433B3A-A32C-6DD7-CA8D-1AE5A4A8FF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839075" cy="6858000"/>
          </a:xfrm>
          <a:prstGeom prst="rect">
            <a:avLst/>
          </a:prstGeom>
          <a:solidFill>
            <a:srgbClr val="D8D7DE"/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0730D-3121-8A3A-DA2B-1559ECD6EF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7247" y="2832823"/>
            <a:ext cx="5735179" cy="626701"/>
          </a:xfrm>
          <a:solidFill>
            <a:schemeClr val="accent2"/>
          </a:solidFill>
        </p:spPr>
        <p:txBody>
          <a:bodyPr vert="horz" wrap="none" lIns="180000" tIns="36000" rIns="180000" bIns="36000" anchor="ctr"/>
          <a:lstStyle>
            <a:lvl1pPr algn="l" rtl="0">
              <a:lnSpc>
                <a:spcPct val="100000"/>
              </a:lnSpc>
              <a:defRPr sz="36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r>
              <a:rPr lang="de-AT" dirty="0"/>
              <a:t>Titel, Länge passt sich a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B6327412-8000-82EC-0835-C8794E184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67247" y="3525225"/>
            <a:ext cx="4603459" cy="626701"/>
          </a:xfrm>
          <a:solidFill>
            <a:schemeClr val="accent2"/>
          </a:solidFill>
        </p:spPr>
        <p:txBody>
          <a:bodyPr wrap="none" lIns="180000" tIns="36000" rIns="180000" bIns="36000" anchor="ctr"/>
          <a:lstStyle>
            <a:lvl1pPr rtl="0">
              <a:defRPr sz="36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/>
              <a:t>Gerne auch 2-zeilig</a:t>
            </a:r>
            <a:endParaRPr lang="de-AT" dirty="0"/>
          </a:p>
        </p:txBody>
      </p:sp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0A78FE1B-4D63-3E06-1EF5-FD82155D5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67247" y="4217626"/>
            <a:ext cx="5869831" cy="626701"/>
          </a:xfrm>
          <a:solidFill>
            <a:schemeClr val="accent2"/>
          </a:solidFill>
        </p:spPr>
        <p:txBody>
          <a:bodyPr wrap="none" lIns="180000" tIns="36000" rIns="180000" bIns="36000" anchor="ctr"/>
          <a:lstStyle>
            <a:lvl1pPr rtl="0">
              <a:defRPr sz="36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de-AT"/>
              <a:t>Oder, wenn nötig 3-zeilig</a:t>
            </a:r>
            <a:endParaRPr lang="de-AT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CA02A6F-FC28-EA03-85FC-09DD7F7DE0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98005" y="294579"/>
            <a:ext cx="1344077" cy="804165"/>
            <a:chOff x="10298005" y="294579"/>
            <a:chExt cx="1344077" cy="804165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C3A55043-1CFE-EBAF-9F82-72441D04F4E7}"/>
                </a:ext>
              </a:extLst>
            </p:cNvPr>
            <p:cNvSpPr/>
            <p:nvPr/>
          </p:nvSpPr>
          <p:spPr>
            <a:xfrm>
              <a:off x="11173039" y="511354"/>
              <a:ext cx="319907" cy="458096"/>
            </a:xfrm>
            <a:custGeom>
              <a:avLst/>
              <a:gdLst>
                <a:gd name="connsiteX0" fmla="*/ 0 w 319907"/>
                <a:gd name="connsiteY0" fmla="*/ 458097 h 458096"/>
                <a:gd name="connsiteX1" fmla="*/ 26805 w 319907"/>
                <a:gd name="connsiteY1" fmla="*/ 451060 h 458096"/>
                <a:gd name="connsiteX2" fmla="*/ 281030 w 319907"/>
                <a:gd name="connsiteY2" fmla="*/ 297604 h 458096"/>
                <a:gd name="connsiteX3" fmla="*/ 260598 w 319907"/>
                <a:gd name="connsiteY3" fmla="*/ 52098 h 458096"/>
                <a:gd name="connsiteX4" fmla="*/ 198337 w 319907"/>
                <a:gd name="connsiteY4" fmla="*/ 0 h 458096"/>
                <a:gd name="connsiteX5" fmla="*/ 185873 w 319907"/>
                <a:gd name="connsiteY5" fmla="*/ 28092 h 458096"/>
                <a:gd name="connsiteX6" fmla="*/ 17472 w 319907"/>
                <a:gd name="connsiteY6" fmla="*/ 417009 h 458096"/>
                <a:gd name="connsiteX7" fmla="*/ 0 w 319907"/>
                <a:gd name="connsiteY7" fmla="*/ 458097 h 458096"/>
                <a:gd name="connsiteX8" fmla="*/ 0 w 319907"/>
                <a:gd name="connsiteY8" fmla="*/ 458097 h 45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907" h="458096">
                  <a:moveTo>
                    <a:pt x="0" y="458097"/>
                  </a:moveTo>
                  <a:cubicBezTo>
                    <a:pt x="7285" y="457246"/>
                    <a:pt x="20431" y="452932"/>
                    <a:pt x="26805" y="451060"/>
                  </a:cubicBezTo>
                  <a:cubicBezTo>
                    <a:pt x="118035" y="424443"/>
                    <a:pt x="226224" y="374275"/>
                    <a:pt x="281030" y="297604"/>
                  </a:cubicBezTo>
                  <a:cubicBezTo>
                    <a:pt x="340787" y="213896"/>
                    <a:pt x="329860" y="124796"/>
                    <a:pt x="260598" y="52098"/>
                  </a:cubicBezTo>
                  <a:cubicBezTo>
                    <a:pt x="244436" y="35186"/>
                    <a:pt x="219167" y="10612"/>
                    <a:pt x="198337" y="0"/>
                  </a:cubicBezTo>
                  <a:cubicBezTo>
                    <a:pt x="194866" y="5391"/>
                    <a:pt x="188890" y="20998"/>
                    <a:pt x="185873" y="28092"/>
                  </a:cubicBezTo>
                  <a:lnTo>
                    <a:pt x="17472" y="417009"/>
                  </a:lnTo>
                  <a:lnTo>
                    <a:pt x="0" y="458097"/>
                  </a:lnTo>
                  <a:lnTo>
                    <a:pt x="0" y="458097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C3771131-DB3D-F78F-8C81-EE030606F0DD}"/>
                </a:ext>
              </a:extLst>
            </p:cNvPr>
            <p:cNvSpPr/>
            <p:nvPr/>
          </p:nvSpPr>
          <p:spPr>
            <a:xfrm>
              <a:off x="10682688" y="619295"/>
              <a:ext cx="136210" cy="92901"/>
            </a:xfrm>
            <a:custGeom>
              <a:avLst/>
              <a:gdLst>
                <a:gd name="connsiteX0" fmla="*/ 0 w 136210"/>
                <a:gd name="connsiteY0" fmla="*/ 92845 h 92901"/>
                <a:gd name="connsiteX1" fmla="*/ 80245 w 136210"/>
                <a:gd name="connsiteY1" fmla="*/ 92845 h 92901"/>
                <a:gd name="connsiteX2" fmla="*/ 127311 w 136210"/>
                <a:gd name="connsiteY2" fmla="*/ 15947 h 92901"/>
                <a:gd name="connsiteX3" fmla="*/ 73075 w 136210"/>
                <a:gd name="connsiteY3" fmla="*/ 0 h 92901"/>
                <a:gd name="connsiteX4" fmla="*/ 0 w 136210"/>
                <a:gd name="connsiteY4" fmla="*/ 0 h 92901"/>
                <a:gd name="connsiteX5" fmla="*/ 0 w 136210"/>
                <a:gd name="connsiteY5" fmla="*/ 92902 h 92901"/>
                <a:gd name="connsiteX6" fmla="*/ 0 w 136210"/>
                <a:gd name="connsiteY6" fmla="*/ 92902 h 9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10" h="92901">
                  <a:moveTo>
                    <a:pt x="0" y="92845"/>
                  </a:moveTo>
                  <a:lnTo>
                    <a:pt x="80245" y="92845"/>
                  </a:lnTo>
                  <a:cubicBezTo>
                    <a:pt x="155426" y="92845"/>
                    <a:pt x="136133" y="27184"/>
                    <a:pt x="127311" y="15947"/>
                  </a:cubicBezTo>
                  <a:cubicBezTo>
                    <a:pt x="117067" y="2951"/>
                    <a:pt x="95839" y="0"/>
                    <a:pt x="73075" y="0"/>
                  </a:cubicBezTo>
                  <a:lnTo>
                    <a:pt x="0" y="0"/>
                  </a:lnTo>
                  <a:cubicBezTo>
                    <a:pt x="0" y="0"/>
                    <a:pt x="0" y="92902"/>
                    <a:pt x="0" y="92902"/>
                  </a:cubicBezTo>
                  <a:lnTo>
                    <a:pt x="0" y="92902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E46B9077-30C8-4A4E-93A6-4AEE45B6868C}"/>
                </a:ext>
              </a:extLst>
            </p:cNvPr>
            <p:cNvSpPr/>
            <p:nvPr/>
          </p:nvSpPr>
          <p:spPr>
            <a:xfrm>
              <a:off x="10298005" y="294579"/>
              <a:ext cx="1235512" cy="747911"/>
            </a:xfrm>
            <a:custGeom>
              <a:avLst/>
              <a:gdLst>
                <a:gd name="connsiteX0" fmla="*/ 225160 w 1235512"/>
                <a:gd name="connsiteY0" fmla="*/ 747911 h 747911"/>
                <a:gd name="connsiteX1" fmla="*/ 199892 w 1235512"/>
                <a:gd name="connsiteY1" fmla="*/ 722770 h 747911"/>
                <a:gd name="connsiteX2" fmla="*/ 102516 w 1235512"/>
                <a:gd name="connsiteY2" fmla="*/ 472724 h 747911"/>
                <a:gd name="connsiteX3" fmla="*/ 103085 w 1235512"/>
                <a:gd name="connsiteY3" fmla="*/ 473518 h 747911"/>
                <a:gd name="connsiteX4" fmla="*/ 117313 w 1235512"/>
                <a:gd name="connsiteY4" fmla="*/ 499340 h 747911"/>
                <a:gd name="connsiteX5" fmla="*/ 226242 w 1235512"/>
                <a:gd name="connsiteY5" fmla="*/ 601436 h 747911"/>
                <a:gd name="connsiteX6" fmla="*/ 281105 w 1235512"/>
                <a:gd name="connsiteY6" fmla="*/ 630493 h 747911"/>
                <a:gd name="connsiteX7" fmla="*/ 281332 w 1235512"/>
                <a:gd name="connsiteY7" fmla="*/ 211271 h 747911"/>
                <a:gd name="connsiteX8" fmla="*/ 517231 w 1235512"/>
                <a:gd name="connsiteY8" fmla="*/ 213654 h 747911"/>
                <a:gd name="connsiteX9" fmla="*/ 631737 w 1235512"/>
                <a:gd name="connsiteY9" fmla="*/ 464779 h 747911"/>
                <a:gd name="connsiteX10" fmla="*/ 612558 w 1235512"/>
                <a:gd name="connsiteY10" fmla="*/ 489012 h 747911"/>
                <a:gd name="connsiteX11" fmla="*/ 605046 w 1235512"/>
                <a:gd name="connsiteY11" fmla="*/ 497070 h 747911"/>
                <a:gd name="connsiteX12" fmla="*/ 412229 w 1235512"/>
                <a:gd name="connsiteY12" fmla="*/ 540882 h 747911"/>
                <a:gd name="connsiteX13" fmla="*/ 412229 w 1235512"/>
                <a:gd name="connsiteY13" fmla="*/ 676405 h 747911"/>
                <a:gd name="connsiteX14" fmla="*/ 460718 w 1235512"/>
                <a:gd name="connsiteY14" fmla="*/ 686676 h 747911"/>
                <a:gd name="connsiteX15" fmla="*/ 512849 w 1235512"/>
                <a:gd name="connsiteY15" fmla="*/ 694905 h 747911"/>
                <a:gd name="connsiteX16" fmla="*/ 741463 w 1235512"/>
                <a:gd name="connsiteY16" fmla="*/ 698197 h 747911"/>
                <a:gd name="connsiteX17" fmla="*/ 795131 w 1235512"/>
                <a:gd name="connsiteY17" fmla="*/ 691500 h 747911"/>
                <a:gd name="connsiteX18" fmla="*/ 841457 w 1235512"/>
                <a:gd name="connsiteY18" fmla="*/ 683101 h 747911"/>
                <a:gd name="connsiteX19" fmla="*/ 818066 w 1235512"/>
                <a:gd name="connsiteY19" fmla="*/ 629244 h 747911"/>
                <a:gd name="connsiteX20" fmla="*/ 636575 w 1235512"/>
                <a:gd name="connsiteY20" fmla="*/ 211498 h 747911"/>
                <a:gd name="connsiteX21" fmla="*/ 778228 w 1235512"/>
                <a:gd name="connsiteY21" fmla="*/ 211271 h 747911"/>
                <a:gd name="connsiteX22" fmla="*/ 855912 w 1235512"/>
                <a:gd name="connsiteY22" fmla="*/ 406665 h 747911"/>
                <a:gd name="connsiteX23" fmla="*/ 881466 w 1235512"/>
                <a:gd name="connsiteY23" fmla="*/ 345374 h 747911"/>
                <a:gd name="connsiteX24" fmla="*/ 931548 w 1235512"/>
                <a:gd name="connsiteY24" fmla="*/ 220691 h 747911"/>
                <a:gd name="connsiteX25" fmla="*/ 944068 w 1235512"/>
                <a:gd name="connsiteY25" fmla="*/ 189819 h 747911"/>
                <a:gd name="connsiteX26" fmla="*/ 956361 w 1235512"/>
                <a:gd name="connsiteY26" fmla="*/ 157300 h 747911"/>
                <a:gd name="connsiteX27" fmla="*/ 732926 w 1235512"/>
                <a:gd name="connsiteY27" fmla="*/ 108324 h 747911"/>
                <a:gd name="connsiteX28" fmla="*/ 536353 w 1235512"/>
                <a:gd name="connsiteY28" fmla="*/ 109686 h 747911"/>
                <a:gd name="connsiteX29" fmla="*/ 475742 w 1235512"/>
                <a:gd name="connsiteY29" fmla="*/ 117574 h 747911"/>
                <a:gd name="connsiteX30" fmla="*/ 565094 w 1235512"/>
                <a:gd name="connsiteY30" fmla="*/ 93682 h 747911"/>
                <a:gd name="connsiteX31" fmla="*/ 1073486 w 1235512"/>
                <a:gd name="connsiteY31" fmla="*/ 112977 h 747911"/>
                <a:gd name="connsiteX32" fmla="*/ 1216163 w 1235512"/>
                <a:gd name="connsiteY32" fmla="*/ 170580 h 747911"/>
                <a:gd name="connsiteX33" fmla="*/ 1235513 w 1235512"/>
                <a:gd name="connsiteY33" fmla="*/ 180398 h 747911"/>
                <a:gd name="connsiteX34" fmla="*/ 1194935 w 1235512"/>
                <a:gd name="connsiteY34" fmla="*/ 147255 h 747911"/>
                <a:gd name="connsiteX35" fmla="*/ 810611 w 1235512"/>
                <a:gd name="connsiteY35" fmla="*/ 7930 h 747911"/>
                <a:gd name="connsiteX36" fmla="*/ 296471 w 1235512"/>
                <a:gd name="connsiteY36" fmla="*/ 75181 h 747911"/>
                <a:gd name="connsiteX37" fmla="*/ 124598 w 1235512"/>
                <a:gd name="connsiteY37" fmla="*/ 181930 h 747911"/>
                <a:gd name="connsiteX38" fmla="*/ 114695 w 1235512"/>
                <a:gd name="connsiteY38" fmla="*/ 191294 h 747911"/>
                <a:gd name="connsiteX39" fmla="*/ 4457 w 1235512"/>
                <a:gd name="connsiteY39" fmla="*/ 379879 h 747911"/>
                <a:gd name="connsiteX40" fmla="*/ 62735 w 1235512"/>
                <a:gd name="connsiteY40" fmla="*/ 610232 h 747911"/>
                <a:gd name="connsiteX41" fmla="*/ 178094 w 1235512"/>
                <a:gd name="connsiteY41" fmla="*/ 719138 h 747911"/>
                <a:gd name="connsiteX42" fmla="*/ 225103 w 1235512"/>
                <a:gd name="connsiteY42" fmla="*/ 747911 h 747911"/>
                <a:gd name="connsiteX43" fmla="*/ 225103 w 1235512"/>
                <a:gd name="connsiteY43" fmla="*/ 747911 h 74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35512" h="747911">
                  <a:moveTo>
                    <a:pt x="225160" y="747911"/>
                  </a:moveTo>
                  <a:cubicBezTo>
                    <a:pt x="222998" y="744336"/>
                    <a:pt x="205697" y="728843"/>
                    <a:pt x="199892" y="722770"/>
                  </a:cubicBezTo>
                  <a:cubicBezTo>
                    <a:pt x="135581" y="655463"/>
                    <a:pt x="94264" y="575047"/>
                    <a:pt x="102516" y="472724"/>
                  </a:cubicBezTo>
                  <a:cubicBezTo>
                    <a:pt x="102687" y="472951"/>
                    <a:pt x="102971" y="473064"/>
                    <a:pt x="103085" y="473518"/>
                  </a:cubicBezTo>
                  <a:lnTo>
                    <a:pt x="117313" y="499340"/>
                  </a:lnTo>
                  <a:cubicBezTo>
                    <a:pt x="145826" y="544287"/>
                    <a:pt x="181282" y="572777"/>
                    <a:pt x="226242" y="601436"/>
                  </a:cubicBezTo>
                  <a:cubicBezTo>
                    <a:pt x="238933" y="609551"/>
                    <a:pt x="266820" y="625612"/>
                    <a:pt x="281105" y="630493"/>
                  </a:cubicBezTo>
                  <a:lnTo>
                    <a:pt x="281332" y="211271"/>
                  </a:lnTo>
                  <a:cubicBezTo>
                    <a:pt x="327715" y="211725"/>
                    <a:pt x="484848" y="208490"/>
                    <a:pt x="517231" y="213654"/>
                  </a:cubicBezTo>
                  <a:cubicBezTo>
                    <a:pt x="652510" y="235220"/>
                    <a:pt x="686088" y="381468"/>
                    <a:pt x="631737" y="464779"/>
                  </a:cubicBezTo>
                  <a:cubicBezTo>
                    <a:pt x="626103" y="473462"/>
                    <a:pt x="620298" y="481747"/>
                    <a:pt x="612558" y="489012"/>
                  </a:cubicBezTo>
                  <a:cubicBezTo>
                    <a:pt x="609656" y="491736"/>
                    <a:pt x="608802" y="493608"/>
                    <a:pt x="605046" y="497070"/>
                  </a:cubicBezTo>
                  <a:cubicBezTo>
                    <a:pt x="548589" y="549111"/>
                    <a:pt x="484393" y="541053"/>
                    <a:pt x="412229" y="540882"/>
                  </a:cubicBezTo>
                  <a:lnTo>
                    <a:pt x="412229" y="676405"/>
                  </a:lnTo>
                  <a:cubicBezTo>
                    <a:pt x="412229" y="676405"/>
                    <a:pt x="460718" y="686676"/>
                    <a:pt x="460718" y="686676"/>
                  </a:cubicBezTo>
                  <a:cubicBezTo>
                    <a:pt x="478360" y="690082"/>
                    <a:pt x="494466" y="692408"/>
                    <a:pt x="512849" y="694905"/>
                  </a:cubicBezTo>
                  <a:cubicBezTo>
                    <a:pt x="594517" y="705858"/>
                    <a:pt x="660705" y="704440"/>
                    <a:pt x="741463" y="698197"/>
                  </a:cubicBezTo>
                  <a:cubicBezTo>
                    <a:pt x="759390" y="696835"/>
                    <a:pt x="778456" y="694168"/>
                    <a:pt x="795131" y="691500"/>
                  </a:cubicBezTo>
                  <a:lnTo>
                    <a:pt x="841457" y="683101"/>
                  </a:lnTo>
                  <a:lnTo>
                    <a:pt x="818066" y="629244"/>
                  </a:lnTo>
                  <a:lnTo>
                    <a:pt x="636575" y="211498"/>
                  </a:lnTo>
                  <a:lnTo>
                    <a:pt x="778228" y="211271"/>
                  </a:lnTo>
                  <a:lnTo>
                    <a:pt x="855912" y="406665"/>
                  </a:lnTo>
                  <a:cubicBezTo>
                    <a:pt x="860124" y="401728"/>
                    <a:pt x="877425" y="355419"/>
                    <a:pt x="881466" y="345374"/>
                  </a:cubicBezTo>
                  <a:lnTo>
                    <a:pt x="931548" y="220691"/>
                  </a:lnTo>
                  <a:cubicBezTo>
                    <a:pt x="935645" y="210419"/>
                    <a:pt x="939572" y="201055"/>
                    <a:pt x="944068" y="189819"/>
                  </a:cubicBezTo>
                  <a:cubicBezTo>
                    <a:pt x="946800" y="182952"/>
                    <a:pt x="955622" y="163316"/>
                    <a:pt x="956361" y="157300"/>
                  </a:cubicBezTo>
                  <a:cubicBezTo>
                    <a:pt x="889718" y="133408"/>
                    <a:pt x="812716" y="114453"/>
                    <a:pt x="732926" y="108324"/>
                  </a:cubicBezTo>
                  <a:cubicBezTo>
                    <a:pt x="664405" y="103102"/>
                    <a:pt x="604761" y="102251"/>
                    <a:pt x="536353" y="109686"/>
                  </a:cubicBezTo>
                  <a:lnTo>
                    <a:pt x="475742" y="117574"/>
                  </a:lnTo>
                  <a:cubicBezTo>
                    <a:pt x="486613" y="111729"/>
                    <a:pt x="549272" y="97144"/>
                    <a:pt x="565094" y="93682"/>
                  </a:cubicBezTo>
                  <a:cubicBezTo>
                    <a:pt x="720975" y="59290"/>
                    <a:pt x="919824" y="64512"/>
                    <a:pt x="1073486" y="112977"/>
                  </a:cubicBezTo>
                  <a:cubicBezTo>
                    <a:pt x="1135861" y="132670"/>
                    <a:pt x="1161414" y="143282"/>
                    <a:pt x="1216163" y="170580"/>
                  </a:cubicBezTo>
                  <a:cubicBezTo>
                    <a:pt x="1222253" y="173588"/>
                    <a:pt x="1229651" y="178468"/>
                    <a:pt x="1235513" y="180398"/>
                  </a:cubicBezTo>
                  <a:cubicBezTo>
                    <a:pt x="1231472" y="174269"/>
                    <a:pt x="1203699" y="153668"/>
                    <a:pt x="1194935" y="147255"/>
                  </a:cubicBezTo>
                  <a:cubicBezTo>
                    <a:pt x="1088396" y="69052"/>
                    <a:pt x="944410" y="25013"/>
                    <a:pt x="810611" y="7930"/>
                  </a:cubicBezTo>
                  <a:cubicBezTo>
                    <a:pt x="631794" y="-14940"/>
                    <a:pt x="437612" y="12925"/>
                    <a:pt x="296471" y="75181"/>
                  </a:cubicBezTo>
                  <a:cubicBezTo>
                    <a:pt x="219640" y="109061"/>
                    <a:pt x="184355" y="132443"/>
                    <a:pt x="124598" y="181930"/>
                  </a:cubicBezTo>
                  <a:cubicBezTo>
                    <a:pt x="120614" y="185222"/>
                    <a:pt x="118451" y="187775"/>
                    <a:pt x="114695" y="191294"/>
                  </a:cubicBezTo>
                  <a:cubicBezTo>
                    <a:pt x="68312" y="234822"/>
                    <a:pt x="19880" y="295433"/>
                    <a:pt x="4457" y="379879"/>
                  </a:cubicBezTo>
                  <a:cubicBezTo>
                    <a:pt x="-12389" y="472270"/>
                    <a:pt x="21018" y="554049"/>
                    <a:pt x="62735" y="610232"/>
                  </a:cubicBezTo>
                  <a:cubicBezTo>
                    <a:pt x="94434" y="652853"/>
                    <a:pt x="134955" y="689798"/>
                    <a:pt x="178094" y="719138"/>
                  </a:cubicBezTo>
                  <a:cubicBezTo>
                    <a:pt x="187826" y="725778"/>
                    <a:pt x="214916" y="744847"/>
                    <a:pt x="225103" y="747911"/>
                  </a:cubicBezTo>
                  <a:lnTo>
                    <a:pt x="225103" y="747911"/>
                  </a:lnTo>
                  <a:close/>
                </a:path>
              </a:pathLst>
            </a:custGeom>
            <a:solidFill>
              <a:srgbClr val="284191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0C5C476-0EF5-5998-4AB6-5A112B26C619}"/>
                </a:ext>
              </a:extLst>
            </p:cNvPr>
            <p:cNvSpPr/>
            <p:nvPr/>
          </p:nvSpPr>
          <p:spPr>
            <a:xfrm>
              <a:off x="10617012" y="504714"/>
              <a:ext cx="1025070" cy="594030"/>
            </a:xfrm>
            <a:custGeom>
              <a:avLst/>
              <a:gdLst>
                <a:gd name="connsiteX0" fmla="*/ 874960 w 1025070"/>
                <a:gd name="connsiteY0" fmla="*/ 57 h 594030"/>
                <a:gd name="connsiteX1" fmla="*/ 949343 w 1025070"/>
                <a:gd name="connsiteY1" fmla="*/ 88873 h 594030"/>
                <a:gd name="connsiteX2" fmla="*/ 984970 w 1025070"/>
                <a:gd name="connsiteY2" fmla="*/ 215769 h 594030"/>
                <a:gd name="connsiteX3" fmla="*/ 921514 w 1025070"/>
                <a:gd name="connsiteY3" fmla="*/ 355944 h 594030"/>
                <a:gd name="connsiteX4" fmla="*/ 636329 w 1025070"/>
                <a:gd name="connsiteY4" fmla="*/ 517118 h 594030"/>
                <a:gd name="connsiteX5" fmla="*/ 430764 w 1025070"/>
                <a:gd name="connsiteY5" fmla="*/ 555425 h 594030"/>
                <a:gd name="connsiteX6" fmla="*/ 354673 w 1025070"/>
                <a:gd name="connsiteY6" fmla="*/ 560192 h 594030"/>
                <a:gd name="connsiteX7" fmla="*/ 139547 w 1025070"/>
                <a:gd name="connsiteY7" fmla="*/ 545891 h 594030"/>
                <a:gd name="connsiteX8" fmla="*/ 0 w 1025070"/>
                <a:gd name="connsiteY8" fmla="*/ 514735 h 594030"/>
                <a:gd name="connsiteX9" fmla="*/ 59985 w 1025070"/>
                <a:gd name="connsiteY9" fmla="*/ 544586 h 594030"/>
                <a:gd name="connsiteX10" fmla="*/ 337771 w 1025070"/>
                <a:gd name="connsiteY10" fmla="*/ 593846 h 594030"/>
                <a:gd name="connsiteX11" fmla="*/ 670362 w 1025070"/>
                <a:gd name="connsiteY11" fmla="*/ 548615 h 594030"/>
                <a:gd name="connsiteX12" fmla="*/ 908708 w 1025070"/>
                <a:gd name="connsiteY12" fmla="*/ 435907 h 594030"/>
                <a:gd name="connsiteX13" fmla="*/ 1021166 w 1025070"/>
                <a:gd name="connsiteY13" fmla="*/ 204929 h 594030"/>
                <a:gd name="connsiteX14" fmla="*/ 963002 w 1025070"/>
                <a:gd name="connsiteY14" fmla="*/ 87113 h 594030"/>
                <a:gd name="connsiteX15" fmla="*/ 921400 w 1025070"/>
                <a:gd name="connsiteY15" fmla="*/ 40747 h 594030"/>
                <a:gd name="connsiteX16" fmla="*/ 874846 w 1025070"/>
                <a:gd name="connsiteY16" fmla="*/ 0 h 594030"/>
                <a:gd name="connsiteX17" fmla="*/ 874846 w 1025070"/>
                <a:gd name="connsiteY17" fmla="*/ 0 h 59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5070" h="594030">
                  <a:moveTo>
                    <a:pt x="874960" y="57"/>
                  </a:moveTo>
                  <a:cubicBezTo>
                    <a:pt x="877066" y="3973"/>
                    <a:pt x="923335" y="44209"/>
                    <a:pt x="949343" y="88873"/>
                  </a:cubicBezTo>
                  <a:cubicBezTo>
                    <a:pt x="968693" y="122129"/>
                    <a:pt x="988442" y="164636"/>
                    <a:pt x="984970" y="215769"/>
                  </a:cubicBezTo>
                  <a:cubicBezTo>
                    <a:pt x="981157" y="272293"/>
                    <a:pt x="954864" y="319397"/>
                    <a:pt x="921514" y="355944"/>
                  </a:cubicBezTo>
                  <a:cubicBezTo>
                    <a:pt x="848268" y="436248"/>
                    <a:pt x="746681" y="485054"/>
                    <a:pt x="636329" y="517118"/>
                  </a:cubicBezTo>
                  <a:cubicBezTo>
                    <a:pt x="579361" y="533633"/>
                    <a:pt x="492798" y="551339"/>
                    <a:pt x="430764" y="555425"/>
                  </a:cubicBezTo>
                  <a:cubicBezTo>
                    <a:pt x="406577" y="557014"/>
                    <a:pt x="378690" y="560136"/>
                    <a:pt x="354673" y="560192"/>
                  </a:cubicBezTo>
                  <a:cubicBezTo>
                    <a:pt x="275452" y="560192"/>
                    <a:pt x="224289" y="560420"/>
                    <a:pt x="139547" y="545891"/>
                  </a:cubicBezTo>
                  <a:cubicBezTo>
                    <a:pt x="104774" y="539932"/>
                    <a:pt x="30334" y="526085"/>
                    <a:pt x="0" y="514735"/>
                  </a:cubicBezTo>
                  <a:cubicBezTo>
                    <a:pt x="3585" y="520694"/>
                    <a:pt x="50424" y="540840"/>
                    <a:pt x="59985" y="544586"/>
                  </a:cubicBezTo>
                  <a:cubicBezTo>
                    <a:pt x="151442" y="580055"/>
                    <a:pt x="239314" y="591973"/>
                    <a:pt x="337771" y="593846"/>
                  </a:cubicBezTo>
                  <a:cubicBezTo>
                    <a:pt x="455293" y="596116"/>
                    <a:pt x="567808" y="577218"/>
                    <a:pt x="670362" y="548615"/>
                  </a:cubicBezTo>
                  <a:cubicBezTo>
                    <a:pt x="755844" y="524780"/>
                    <a:pt x="848610" y="482216"/>
                    <a:pt x="908708" y="435907"/>
                  </a:cubicBezTo>
                  <a:cubicBezTo>
                    <a:pt x="978937" y="381880"/>
                    <a:pt x="1041540" y="303903"/>
                    <a:pt x="1021166" y="204929"/>
                  </a:cubicBezTo>
                  <a:cubicBezTo>
                    <a:pt x="1010979" y="155215"/>
                    <a:pt x="988442" y="120937"/>
                    <a:pt x="963002" y="87113"/>
                  </a:cubicBezTo>
                  <a:cubicBezTo>
                    <a:pt x="953498" y="74458"/>
                    <a:pt x="931815" y="50055"/>
                    <a:pt x="921400" y="40747"/>
                  </a:cubicBezTo>
                  <a:cubicBezTo>
                    <a:pt x="910871" y="31384"/>
                    <a:pt x="885887" y="6299"/>
                    <a:pt x="874846" y="0"/>
                  </a:cubicBezTo>
                  <a:lnTo>
                    <a:pt x="874846" y="0"/>
                  </a:lnTo>
                  <a:close/>
                </a:path>
              </a:pathLst>
            </a:custGeom>
            <a:solidFill>
              <a:srgbClr val="96AAD2"/>
            </a:solidFill>
            <a:ln w="5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594C7BD7-A06F-4831-8557-57B306EE71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6486003"/>
            <a:ext cx="5267325" cy="371998"/>
          </a:xfrm>
        </p:spPr>
        <p:txBody>
          <a:bodyPr wrap="square" lIns="108000" tIns="108000" rIns="108000" bIns="10800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3566915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18" userDrawn="1">
          <p15:clr>
            <a:srgbClr val="FBAE40"/>
          </p15:clr>
        </p15:guide>
        <p15:guide id="3" pos="49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124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8605837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102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alken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2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125"/>
            <a:ext cx="9245136" cy="534368"/>
          </a:xfrm>
          <a:solidFill>
            <a:schemeClr val="accent2"/>
          </a:solidFill>
        </p:spPr>
        <p:txBody>
          <a:bodyPr vert="horz" wrap="none" tIns="36000" rIns="180000" bIns="36000" anchor="ctr"/>
          <a:lstStyle>
            <a:lvl1pPr marL="533400" indent="0" rtl="0">
              <a:lnSpc>
                <a:spcPct val="100000"/>
              </a:lnSpc>
              <a:defRPr sz="3000">
                <a:solidFill>
                  <a:schemeClr val="bg1">
                    <a:alpha val="92000"/>
                  </a:schemeClr>
                </a:solidFill>
              </a:defRPr>
            </a:lvl1pPr>
          </a:lstStyle>
          <a:p>
            <a:r>
              <a:rPr lang="de-AT" dirty="0"/>
              <a:t>Folientitel, die Länge passt sich automatisch a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55ED438-376F-26F8-7137-4AD4303CF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816100"/>
            <a:ext cx="8605837" cy="1912575"/>
          </a:xfrm>
        </p:spPr>
        <p:txBody>
          <a:bodyPr/>
          <a:lstStyle>
            <a:lvl1pPr rtl="0">
              <a:defRPr/>
            </a:lvl1pPr>
            <a:lvl2pPr rtl="0">
              <a:lnSpc>
                <a:spcPct val="114000"/>
              </a:lnSpc>
              <a:defRPr/>
            </a:lvl2pPr>
            <a:lvl3pPr rtl="0">
              <a:lnSpc>
                <a:spcPct val="114000"/>
              </a:lnSpc>
              <a:defRPr/>
            </a:lvl3pPr>
            <a:lvl4pPr rtl="0">
              <a:lnSpc>
                <a:spcPct val="114000"/>
              </a:lnSpc>
              <a:defRPr/>
            </a:lvl4pPr>
            <a:lvl5pPr rtl="0">
              <a:lnSpc>
                <a:spcPct val="114000"/>
              </a:lnSpc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BD7BC33E-B0C1-A0CF-C95B-34C668D692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6002262" cy="534368"/>
          </a:xfrm>
          <a:solidFill>
            <a:schemeClr val="accent2"/>
          </a:solidFill>
        </p:spPr>
        <p:txBody>
          <a:bodyPr wrap="none" tIns="36000" rIns="180000" bIns="36000" anchor="ctr"/>
          <a:lstStyle>
            <a:lvl1pPr marL="533400" indent="0" rtl="0">
              <a:defRPr sz="3000">
                <a:solidFill>
                  <a:schemeClr val="bg1">
                    <a:alpha val="92000"/>
                  </a:schemeClr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82344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57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F64B79-33C6-CE84-1287-10EDF9216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/>
              <a:t>Agenda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196EED-1EF3-42B5-F796-5804F85A7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6EACC0C7-F1DA-5A86-E347-6F48FF60BF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43406" y="1816100"/>
            <a:ext cx="5713294" cy="612000"/>
          </a:xfrm>
          <a:solidFill>
            <a:schemeClr val="bg1"/>
          </a:solidFill>
          <a:effectLst>
            <a:innerShdw dist="12700" dir="10800000">
              <a:schemeClr val="accent2"/>
            </a:innerShdw>
          </a:effectLst>
        </p:spPr>
        <p:txBody>
          <a:bodyPr lIns="180000" tIns="72000" rIns="180000" bIns="72000" anchor="ctr">
            <a:noAutofit/>
          </a:bodyPr>
          <a:lstStyle>
            <a:lvl1pPr rtl="0">
              <a:defRPr sz="1800">
                <a:latin typeface="+mn-lt"/>
              </a:defRPr>
            </a:lvl1pPr>
            <a:lvl2pPr rtl="0">
              <a:spcBef>
                <a:spcPts val="0"/>
              </a:spcBef>
              <a:defRPr sz="1800">
                <a:solidFill>
                  <a:srgbClr val="D8D7DE"/>
                </a:solidFill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46DE08-EA53-0841-CA36-4A61792B4C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9006" y="1902484"/>
            <a:ext cx="914400" cy="672300"/>
          </a:xfrm>
        </p:spPr>
        <p:txBody>
          <a:bodyPr rIns="180000" anchor="b"/>
          <a:lstStyle>
            <a:lvl1pPr algn="r" rtl="0">
              <a:lnSpc>
                <a:spcPct val="85000"/>
              </a:lnSpc>
              <a:spcBef>
                <a:spcPts val="0"/>
              </a:spcBef>
              <a:defRPr sz="1000">
                <a:solidFill>
                  <a:srgbClr val="D8D7DE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D8D7DE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 dirty="0"/>
              <a:t>Kapitel</a:t>
            </a:r>
          </a:p>
          <a:p>
            <a:pPr lvl="1"/>
            <a:r>
              <a:rPr lang="de-AT" dirty="0"/>
              <a:t>XX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0F905847-1F0B-A16E-15B5-854E6DC6A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29006" y="2700353"/>
            <a:ext cx="914400" cy="672300"/>
          </a:xfrm>
        </p:spPr>
        <p:txBody>
          <a:bodyPr rIns="180000" anchor="b"/>
          <a:lstStyle>
            <a:lvl1pPr algn="r" rtl="0">
              <a:lnSpc>
                <a:spcPct val="85000"/>
              </a:lnSpc>
              <a:spcBef>
                <a:spcPts val="0"/>
              </a:spcBef>
              <a:defRPr sz="1000">
                <a:solidFill>
                  <a:srgbClr val="D8D7DE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D8D7DE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/>
              <a:t>Kapitel</a:t>
            </a:r>
          </a:p>
          <a:p>
            <a:pPr lvl="1"/>
            <a:r>
              <a:rPr lang="de-AT"/>
              <a:t>XX</a:t>
            </a:r>
            <a:endParaRPr lang="de-AT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26E5E523-CA14-4E44-425C-241E201DFF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9006" y="3498222"/>
            <a:ext cx="914400" cy="672300"/>
          </a:xfrm>
        </p:spPr>
        <p:txBody>
          <a:bodyPr rIns="180000" anchor="b"/>
          <a:lstStyle>
            <a:lvl1pPr algn="r" rtl="0">
              <a:lnSpc>
                <a:spcPct val="85000"/>
              </a:lnSpc>
              <a:spcBef>
                <a:spcPts val="0"/>
              </a:spcBef>
              <a:defRPr sz="1000">
                <a:solidFill>
                  <a:srgbClr val="D7D7DC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D7D7DC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/>
              <a:t>Kapitel</a:t>
            </a:r>
          </a:p>
          <a:p>
            <a:pPr lvl="1"/>
            <a:r>
              <a:rPr lang="de-AT"/>
              <a:t>XX</a:t>
            </a:r>
            <a:endParaRPr lang="de-AT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11BD1E7-BD4E-7B02-FF78-6114D3BFCF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29006" y="4296091"/>
            <a:ext cx="914400" cy="672300"/>
          </a:xfrm>
        </p:spPr>
        <p:txBody>
          <a:bodyPr rIns="180000" anchor="b"/>
          <a:lstStyle>
            <a:lvl1pPr algn="r" rtl="0">
              <a:lnSpc>
                <a:spcPct val="85000"/>
              </a:lnSpc>
              <a:spcBef>
                <a:spcPts val="0"/>
              </a:spcBef>
              <a:defRPr sz="1000">
                <a:solidFill>
                  <a:srgbClr val="D8D7DE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D8D7DE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/>
              <a:t>Kapitel</a:t>
            </a:r>
          </a:p>
          <a:p>
            <a:pPr lvl="1"/>
            <a:r>
              <a:rPr lang="de-AT"/>
              <a:t>XX</a:t>
            </a:r>
            <a:endParaRPr lang="de-AT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C5F6859-AC18-AEBA-AF5D-37C27828DE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29006" y="5093960"/>
            <a:ext cx="914400" cy="672300"/>
          </a:xfrm>
        </p:spPr>
        <p:txBody>
          <a:bodyPr rIns="180000" anchor="b"/>
          <a:lstStyle>
            <a:lvl1pPr algn="r" rtl="0">
              <a:lnSpc>
                <a:spcPct val="85000"/>
              </a:lnSpc>
              <a:spcBef>
                <a:spcPts val="0"/>
              </a:spcBef>
              <a:defRPr sz="1000">
                <a:solidFill>
                  <a:srgbClr val="D8D7DE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D8D7DE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/>
              <a:t>Kapitel</a:t>
            </a:r>
          </a:p>
          <a:p>
            <a:pPr lvl="1"/>
            <a:r>
              <a:rPr lang="de-AT"/>
              <a:t>XX</a:t>
            </a:r>
            <a:endParaRPr lang="de-AT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A543B9D6-462D-D62D-A205-259DC6681A3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43406" y="2613969"/>
            <a:ext cx="5713294" cy="612000"/>
          </a:xfrm>
          <a:solidFill>
            <a:schemeClr val="bg1"/>
          </a:solidFill>
          <a:effectLst>
            <a:innerShdw dist="12700" dir="10800000">
              <a:schemeClr val="accent2"/>
            </a:innerShdw>
          </a:effectLst>
        </p:spPr>
        <p:txBody>
          <a:bodyPr lIns="180000" tIns="72000" rIns="180000" bIns="72000" anchor="ctr">
            <a:noAutofit/>
          </a:bodyPr>
          <a:lstStyle>
            <a:lvl1pPr rtl="0">
              <a:defRPr sz="1800">
                <a:latin typeface="+mn-lt"/>
              </a:defRPr>
            </a:lvl1pPr>
            <a:lvl2pPr rtl="0">
              <a:spcBef>
                <a:spcPts val="0"/>
              </a:spcBef>
              <a:defRPr sz="1800">
                <a:solidFill>
                  <a:srgbClr val="D8D7DE"/>
                </a:solidFill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3C4AD51-6A15-EC04-93E3-360EAB1CD78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43406" y="3411838"/>
            <a:ext cx="5713294" cy="612000"/>
          </a:xfrm>
          <a:solidFill>
            <a:schemeClr val="bg1"/>
          </a:solidFill>
          <a:effectLst>
            <a:innerShdw dist="12700" dir="10800000">
              <a:schemeClr val="accent2"/>
            </a:innerShdw>
          </a:effectLst>
        </p:spPr>
        <p:txBody>
          <a:bodyPr lIns="180000" tIns="72000" rIns="180000" bIns="72000" anchor="ctr">
            <a:noAutofit/>
          </a:bodyPr>
          <a:lstStyle>
            <a:lvl1pPr rtl="0">
              <a:defRPr sz="1800">
                <a:latin typeface="+mn-lt"/>
              </a:defRPr>
            </a:lvl1pPr>
            <a:lvl2pPr rtl="0">
              <a:spcBef>
                <a:spcPts val="0"/>
              </a:spcBef>
              <a:defRPr sz="1800">
                <a:solidFill>
                  <a:srgbClr val="D8D7DE"/>
                </a:solidFill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C90A46D2-A171-8B31-5E18-DA0AB82A24B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43406" y="4209707"/>
            <a:ext cx="5713294" cy="612000"/>
          </a:xfrm>
          <a:solidFill>
            <a:schemeClr val="bg1"/>
          </a:solidFill>
          <a:effectLst>
            <a:innerShdw dist="12700" dir="10800000">
              <a:schemeClr val="accent2"/>
            </a:innerShdw>
          </a:effectLst>
        </p:spPr>
        <p:txBody>
          <a:bodyPr lIns="180000" tIns="72000" rIns="180000" bIns="72000" anchor="ctr">
            <a:noAutofit/>
          </a:bodyPr>
          <a:lstStyle>
            <a:lvl1pPr rtl="0">
              <a:defRPr sz="1800">
                <a:latin typeface="+mn-lt"/>
              </a:defRPr>
            </a:lvl1pPr>
            <a:lvl2pPr rtl="0">
              <a:spcBef>
                <a:spcPts val="0"/>
              </a:spcBef>
              <a:defRPr sz="1800">
                <a:solidFill>
                  <a:srgbClr val="D8D7DE"/>
                </a:solidFill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66F43EE1-E91E-8AE4-7098-E472D46AED3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43406" y="5007576"/>
            <a:ext cx="5713294" cy="612000"/>
          </a:xfrm>
          <a:solidFill>
            <a:schemeClr val="bg1"/>
          </a:solidFill>
          <a:effectLst>
            <a:innerShdw dist="12700" dir="10800000">
              <a:schemeClr val="accent2"/>
            </a:innerShdw>
          </a:effectLst>
        </p:spPr>
        <p:txBody>
          <a:bodyPr lIns="180000" tIns="72000" rIns="180000" bIns="72000" anchor="ctr">
            <a:noAutofit/>
          </a:bodyPr>
          <a:lstStyle>
            <a:lvl1pPr rtl="0">
              <a:defRPr sz="1800">
                <a:latin typeface="+mn-lt"/>
              </a:defRPr>
            </a:lvl1pPr>
            <a:lvl2pPr rtl="0">
              <a:spcBef>
                <a:spcPts val="0"/>
              </a:spcBef>
              <a:defRPr sz="1800">
                <a:solidFill>
                  <a:srgbClr val="D8D7DE"/>
                </a:solidFill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057498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689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3079000"/>
            <a:ext cx="5545137" cy="700000"/>
          </a:xfrm>
        </p:spPr>
        <p:txBody>
          <a:bodyPr lIns="540000" anchor="ctr"/>
          <a:lstStyle>
            <a:lvl1pPr rtl="0">
              <a:defRPr/>
            </a:lvl1pPr>
            <a:lvl2pPr rtl="0"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2pPr>
            <a:lvl3pPr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3pPr>
            <a:lvl4pPr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4pPr>
            <a:lvl5pPr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1DAEC0-8F3D-9417-7816-E7E8023BDFD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AT" sz="1600" dirty="0">
              <a:solidFill>
                <a:schemeClr val="tx1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E998255-CCD7-D2D3-C535-686AC67809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3261" y="1771144"/>
            <a:ext cx="3462739" cy="3315712"/>
          </a:xfrm>
        </p:spPr>
        <p:txBody>
          <a:bodyPr wrap="none" tIns="540000" rIns="540000" anchor="b">
            <a:spAutoFit/>
          </a:bodyPr>
          <a:lstStyle>
            <a:lvl1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CCC7C5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16600">
                <a:solidFill>
                  <a:srgbClr val="CCC7C5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 dirty="0"/>
              <a:t>Kapitel</a:t>
            </a:r>
          </a:p>
          <a:p>
            <a:pPr lvl="1"/>
            <a:r>
              <a:rPr lang="de-AT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736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154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3079001"/>
            <a:ext cx="5545137" cy="700000"/>
          </a:xfrm>
        </p:spPr>
        <p:txBody>
          <a:bodyPr lIns="540000" anchor="ctr"/>
          <a:lstStyle>
            <a:lvl1pPr rtl="0">
              <a:defRPr/>
            </a:lvl1pPr>
            <a:lvl2pPr rtl="0"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2pPr>
            <a:lvl3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3pPr>
            <a:lvl4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4pPr>
            <a:lvl5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1DAEC0-8F3D-9417-7816-E7E8023BDFD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AT" sz="1600" dirty="0">
              <a:solidFill>
                <a:schemeClr val="tx1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E998255-CCD7-D2D3-C535-686AC67809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3261" y="1771144"/>
            <a:ext cx="3462739" cy="3315712"/>
          </a:xfrm>
        </p:spPr>
        <p:txBody>
          <a:bodyPr wrap="none" tIns="540000" rIns="540000" anchor="b">
            <a:spAutoFit/>
          </a:bodyPr>
          <a:lstStyle>
            <a:lvl1pPr algn="r" rtl="0">
              <a:lnSpc>
                <a:spcPct val="85000"/>
              </a:lnSpc>
              <a:spcBef>
                <a:spcPts val="0"/>
              </a:spcBef>
              <a:defRPr sz="4000">
                <a:solidFill>
                  <a:srgbClr val="94ACD9"/>
                </a:solidFill>
                <a:latin typeface="+mn-lt"/>
              </a:defRPr>
            </a:lvl1pPr>
            <a:lvl2pPr algn="r" rtl="0">
              <a:lnSpc>
                <a:spcPct val="85000"/>
              </a:lnSpc>
              <a:spcBef>
                <a:spcPts val="0"/>
              </a:spcBef>
              <a:defRPr sz="16600">
                <a:solidFill>
                  <a:srgbClr val="94ACD9"/>
                </a:solidFill>
                <a:latin typeface="+mj-lt"/>
              </a:defRPr>
            </a:lvl2pPr>
            <a:lvl3pPr marL="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3pPr>
            <a:lvl4pPr marL="2667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4pPr>
            <a:lvl5pPr marL="540000" indent="0" algn="r">
              <a:lnSpc>
                <a:spcPct val="85000"/>
              </a:lnSpc>
              <a:buNone/>
              <a:defRPr>
                <a:solidFill>
                  <a:srgbClr val="D7D7DC"/>
                </a:solidFill>
              </a:defRPr>
            </a:lvl5pPr>
          </a:lstStyle>
          <a:p>
            <a:pPr lvl="0"/>
            <a:r>
              <a:rPr lang="de-AT"/>
              <a:t>Kapitel</a:t>
            </a:r>
          </a:p>
          <a:p>
            <a:pPr lvl="1"/>
            <a:r>
              <a:rPr lang="de-AT"/>
              <a:t>XX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41479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A71516-32E7-29F8-4753-2BAE971F9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8895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A71516-32E7-29F8-4753-2BAE971F9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BE0DA924-3BF2-24C5-BA50-B1D6C5CC3A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  <a:solidFill>
            <a:srgbClr val="D8D7DE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AT"/>
              <a:t> 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88178-0876-4C50-F093-D49098622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4E65411B-29E8-087E-1A5C-CC58A5FDDB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3079001"/>
            <a:ext cx="5545137" cy="700000"/>
          </a:xfrm>
        </p:spPr>
        <p:txBody>
          <a:bodyPr lIns="540000" anchor="ctr"/>
          <a:lstStyle>
            <a:lvl1pPr rtl="0">
              <a:defRPr/>
            </a:lvl1pPr>
            <a:lvl2pPr rtl="0">
              <a:lnSpc>
                <a:spcPct val="120000"/>
              </a:lnSpc>
              <a:defRPr sz="1400">
                <a:solidFill>
                  <a:schemeClr val="accent2"/>
                </a:solidFill>
              </a:defRPr>
            </a:lvl2pPr>
            <a:lvl3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3pPr>
            <a:lvl4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4pPr>
            <a:lvl5pPr>
              <a:lnSpc>
                <a:spcPct val="120000"/>
              </a:lnSpc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C0089C56-952C-12A6-E5E4-1A867F0423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486002"/>
            <a:ext cx="5772150" cy="371998"/>
          </a:xfrm>
        </p:spPr>
        <p:txBody>
          <a:bodyPr wrap="square" lIns="108000" tIns="108000" rIns="108000" bIns="108000" anchor="ctr"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  <a:lvl2pPr>
              <a:defRPr sz="1000">
                <a:solidFill>
                  <a:schemeClr val="bg1"/>
                </a:solidFill>
                <a:latin typeface="+mn-lt"/>
              </a:defRPr>
            </a:lvl2pPr>
            <a:lvl3pPr>
              <a:defRPr sz="1000">
                <a:solidFill>
                  <a:schemeClr val="bg1"/>
                </a:solidFill>
                <a:latin typeface="+mn-lt"/>
              </a:defRPr>
            </a:lvl3pPr>
            <a:lvl4pPr>
              <a:defRPr sz="100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@ bitte Copyright angeben</a:t>
            </a:r>
          </a:p>
        </p:txBody>
      </p:sp>
    </p:spTree>
    <p:extLst>
      <p:ext uri="{BB962C8B-B14F-4D97-AF65-F5344CB8AC3E}">
        <p14:creationId xmlns:p14="http://schemas.microsoft.com/office/powerpoint/2010/main" val="2055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83F5503-C211-BB50-E4BF-12724788A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20378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06" imgH="306" progId="TCLayout.ActiveDocument.1">
                  <p:embed/>
                </p:oleObj>
              </mc:Choice>
              <mc:Fallback>
                <p:oleObj name="think-cell Folie" r:id="rId31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83F5503-C211-BB50-E4BF-12724788A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D98AFB-DF99-C7C3-32C5-A0BF3F072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5125"/>
            <a:ext cx="9901237" cy="5289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9627D6-4C84-E1D8-474B-3DBE06950F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5086" y="6522244"/>
            <a:ext cx="196052" cy="33575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18000" rIns="0" bIns="0" rtlCol="0" anchor="t">
            <a:noAutofit/>
          </a:bodyPr>
          <a:lstStyle>
            <a:lvl1pPr algn="ctr" rtl="0">
              <a:defRPr sz="1000">
                <a:solidFill>
                  <a:schemeClr val="bg1">
                    <a:alpha val="92000"/>
                  </a:schemeClr>
                </a:solidFill>
                <a:latin typeface="+mj-lt"/>
              </a:defRPr>
            </a:lvl1pPr>
          </a:lstStyle>
          <a:p>
            <a:fld id="{E8ED4B57-C6CD-4512-8B81-8FDEA6AF4940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D636E8-CDE6-C51D-0444-807857929254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50863" y="1816100"/>
            <a:ext cx="8605837" cy="191257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11FB79-B672-36AA-1E64-1CC0BABE6E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540420"/>
            <a:ext cx="738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rtl="0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AT"/>
              <a:t>Name der Präsentation  I  TT. Monat YYYY</a:t>
            </a:r>
            <a:endParaRPr lang="de-AT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31EB93E-7FCC-7482-E32B-D8D3BF8D96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41126" y="294536"/>
            <a:ext cx="900644" cy="538859"/>
            <a:chOff x="10741126" y="294536"/>
            <a:chExt cx="900644" cy="538859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FC9E543-B91C-7FC2-F93F-3DAF51C84491}"/>
                </a:ext>
              </a:extLst>
            </p:cNvPr>
            <p:cNvSpPr/>
            <p:nvPr/>
          </p:nvSpPr>
          <p:spPr>
            <a:xfrm>
              <a:off x="11327472" y="439794"/>
              <a:ext cx="214365" cy="306963"/>
            </a:xfrm>
            <a:custGeom>
              <a:avLst/>
              <a:gdLst>
                <a:gd name="connsiteX0" fmla="*/ 0 w 214365"/>
                <a:gd name="connsiteY0" fmla="*/ 306963 h 306963"/>
                <a:gd name="connsiteX1" fmla="*/ 17962 w 214365"/>
                <a:gd name="connsiteY1" fmla="*/ 302248 h 306963"/>
                <a:gd name="connsiteX2" fmla="*/ 188314 w 214365"/>
                <a:gd name="connsiteY2" fmla="*/ 199420 h 306963"/>
                <a:gd name="connsiteX3" fmla="*/ 174623 w 214365"/>
                <a:gd name="connsiteY3" fmla="*/ 34910 h 306963"/>
                <a:gd name="connsiteX4" fmla="*/ 132903 w 214365"/>
                <a:gd name="connsiteY4" fmla="*/ 0 h 306963"/>
                <a:gd name="connsiteX5" fmla="*/ 124551 w 214365"/>
                <a:gd name="connsiteY5" fmla="*/ 18824 h 306963"/>
                <a:gd name="connsiteX6" fmla="*/ 11708 w 214365"/>
                <a:gd name="connsiteY6" fmla="*/ 279431 h 306963"/>
                <a:gd name="connsiteX7" fmla="*/ 0 w 214365"/>
                <a:gd name="connsiteY7" fmla="*/ 306963 h 306963"/>
                <a:gd name="connsiteX8" fmla="*/ 0 w 214365"/>
                <a:gd name="connsiteY8" fmla="*/ 306963 h 30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365" h="306963">
                  <a:moveTo>
                    <a:pt x="0" y="306963"/>
                  </a:moveTo>
                  <a:cubicBezTo>
                    <a:pt x="4881" y="306393"/>
                    <a:pt x="13691" y="303503"/>
                    <a:pt x="17962" y="302248"/>
                  </a:cubicBezTo>
                  <a:cubicBezTo>
                    <a:pt x="79093" y="284413"/>
                    <a:pt x="151589" y="250796"/>
                    <a:pt x="188314" y="199420"/>
                  </a:cubicBezTo>
                  <a:cubicBezTo>
                    <a:pt x="228356" y="143328"/>
                    <a:pt x="221034" y="83624"/>
                    <a:pt x="174623" y="34910"/>
                  </a:cubicBezTo>
                  <a:cubicBezTo>
                    <a:pt x="163792" y="23577"/>
                    <a:pt x="146860" y="7111"/>
                    <a:pt x="132903" y="0"/>
                  </a:cubicBezTo>
                  <a:cubicBezTo>
                    <a:pt x="130576" y="3613"/>
                    <a:pt x="126572" y="14070"/>
                    <a:pt x="124551" y="18824"/>
                  </a:cubicBezTo>
                  <a:lnTo>
                    <a:pt x="11708" y="279431"/>
                  </a:lnTo>
                  <a:lnTo>
                    <a:pt x="0" y="306963"/>
                  </a:lnTo>
                  <a:lnTo>
                    <a:pt x="0" y="306963"/>
                  </a:lnTo>
                  <a:close/>
                </a:path>
              </a:pathLst>
            </a:custGeom>
            <a:solidFill>
              <a:srgbClr val="284191"/>
            </a:solidFill>
            <a:ln w="3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C5D99C2-9CC0-6AF9-38D3-716F102B0B73}"/>
                </a:ext>
              </a:extLst>
            </p:cNvPr>
            <p:cNvSpPr/>
            <p:nvPr/>
          </p:nvSpPr>
          <p:spPr>
            <a:xfrm>
              <a:off x="10998896" y="512124"/>
              <a:ext cx="91272" cy="62252"/>
            </a:xfrm>
            <a:custGeom>
              <a:avLst/>
              <a:gdLst>
                <a:gd name="connsiteX0" fmla="*/ 0 w 91272"/>
                <a:gd name="connsiteY0" fmla="*/ 62214 h 62252"/>
                <a:gd name="connsiteX1" fmla="*/ 53771 w 91272"/>
                <a:gd name="connsiteY1" fmla="*/ 62214 h 62252"/>
                <a:gd name="connsiteX2" fmla="*/ 85309 w 91272"/>
                <a:gd name="connsiteY2" fmla="*/ 10686 h 62252"/>
                <a:gd name="connsiteX3" fmla="*/ 48966 w 91272"/>
                <a:gd name="connsiteY3" fmla="*/ 0 h 62252"/>
                <a:gd name="connsiteX4" fmla="*/ 0 w 91272"/>
                <a:gd name="connsiteY4" fmla="*/ 0 h 62252"/>
                <a:gd name="connsiteX5" fmla="*/ 0 w 91272"/>
                <a:gd name="connsiteY5" fmla="*/ 62252 h 62252"/>
                <a:gd name="connsiteX6" fmla="*/ 0 w 91272"/>
                <a:gd name="connsiteY6" fmla="*/ 62252 h 6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272" h="62252">
                  <a:moveTo>
                    <a:pt x="0" y="62214"/>
                  </a:moveTo>
                  <a:lnTo>
                    <a:pt x="53771" y="62214"/>
                  </a:lnTo>
                  <a:cubicBezTo>
                    <a:pt x="104148" y="62214"/>
                    <a:pt x="91220" y="18215"/>
                    <a:pt x="85309" y="10686"/>
                  </a:cubicBezTo>
                  <a:cubicBezTo>
                    <a:pt x="78445" y="1977"/>
                    <a:pt x="64220" y="0"/>
                    <a:pt x="48966" y="0"/>
                  </a:cubicBezTo>
                  <a:lnTo>
                    <a:pt x="0" y="0"/>
                  </a:lnTo>
                  <a:cubicBezTo>
                    <a:pt x="0" y="0"/>
                    <a:pt x="0" y="62252"/>
                    <a:pt x="0" y="62252"/>
                  </a:cubicBezTo>
                  <a:lnTo>
                    <a:pt x="0" y="62252"/>
                  </a:lnTo>
                  <a:close/>
                </a:path>
              </a:pathLst>
            </a:custGeom>
            <a:solidFill>
              <a:srgbClr val="284191"/>
            </a:solidFill>
            <a:ln w="3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E2C5B968-4486-ABEF-99D2-CA73D74A5D31}"/>
                </a:ext>
              </a:extLst>
            </p:cNvPr>
            <p:cNvSpPr/>
            <p:nvPr/>
          </p:nvSpPr>
          <p:spPr>
            <a:xfrm>
              <a:off x="10741126" y="294536"/>
              <a:ext cx="827897" cy="501163"/>
            </a:xfrm>
            <a:custGeom>
              <a:avLst/>
              <a:gdLst>
                <a:gd name="connsiteX0" fmla="*/ 150876 w 827897"/>
                <a:gd name="connsiteY0" fmla="*/ 501163 h 501163"/>
                <a:gd name="connsiteX1" fmla="*/ 133944 w 827897"/>
                <a:gd name="connsiteY1" fmla="*/ 484317 h 501163"/>
                <a:gd name="connsiteX2" fmla="*/ 68694 w 827897"/>
                <a:gd name="connsiteY2" fmla="*/ 316765 h 501163"/>
                <a:gd name="connsiteX3" fmla="*/ 69076 w 827897"/>
                <a:gd name="connsiteY3" fmla="*/ 317297 h 501163"/>
                <a:gd name="connsiteX4" fmla="*/ 78609 w 827897"/>
                <a:gd name="connsiteY4" fmla="*/ 334600 h 501163"/>
                <a:gd name="connsiteX5" fmla="*/ 151601 w 827897"/>
                <a:gd name="connsiteY5" fmla="*/ 403013 h 501163"/>
                <a:gd name="connsiteX6" fmla="*/ 188364 w 827897"/>
                <a:gd name="connsiteY6" fmla="*/ 422483 h 501163"/>
                <a:gd name="connsiteX7" fmla="*/ 188516 w 827897"/>
                <a:gd name="connsiteY7" fmla="*/ 141569 h 501163"/>
                <a:gd name="connsiteX8" fmla="*/ 346588 w 827897"/>
                <a:gd name="connsiteY8" fmla="*/ 143166 h 501163"/>
                <a:gd name="connsiteX9" fmla="*/ 423317 w 827897"/>
                <a:gd name="connsiteY9" fmla="*/ 311441 h 501163"/>
                <a:gd name="connsiteX10" fmla="*/ 410465 w 827897"/>
                <a:gd name="connsiteY10" fmla="*/ 327679 h 501163"/>
                <a:gd name="connsiteX11" fmla="*/ 405431 w 827897"/>
                <a:gd name="connsiteY11" fmla="*/ 333079 h 501163"/>
                <a:gd name="connsiteX12" fmla="*/ 276228 w 827897"/>
                <a:gd name="connsiteY12" fmla="*/ 362437 h 501163"/>
                <a:gd name="connsiteX13" fmla="*/ 276228 w 827897"/>
                <a:gd name="connsiteY13" fmla="*/ 453248 h 501163"/>
                <a:gd name="connsiteX14" fmla="*/ 308720 w 827897"/>
                <a:gd name="connsiteY14" fmla="*/ 460131 h 501163"/>
                <a:gd name="connsiteX15" fmla="*/ 343652 w 827897"/>
                <a:gd name="connsiteY15" fmla="*/ 465645 h 501163"/>
                <a:gd name="connsiteX16" fmla="*/ 496843 w 827897"/>
                <a:gd name="connsiteY16" fmla="*/ 467851 h 501163"/>
                <a:gd name="connsiteX17" fmla="*/ 532804 w 827897"/>
                <a:gd name="connsiteY17" fmla="*/ 463363 h 501163"/>
                <a:gd name="connsiteX18" fmla="*/ 563847 w 827897"/>
                <a:gd name="connsiteY18" fmla="*/ 457735 h 501163"/>
                <a:gd name="connsiteX19" fmla="*/ 548173 w 827897"/>
                <a:gd name="connsiteY19" fmla="*/ 421646 h 501163"/>
                <a:gd name="connsiteX20" fmla="*/ 426559 w 827897"/>
                <a:gd name="connsiteY20" fmla="*/ 141721 h 501163"/>
                <a:gd name="connsiteX21" fmla="*/ 521478 w 827897"/>
                <a:gd name="connsiteY21" fmla="*/ 141569 h 501163"/>
                <a:gd name="connsiteX22" fmla="*/ 573533 w 827897"/>
                <a:gd name="connsiteY22" fmla="*/ 272500 h 501163"/>
                <a:gd name="connsiteX23" fmla="*/ 590656 w 827897"/>
                <a:gd name="connsiteY23" fmla="*/ 231430 h 501163"/>
                <a:gd name="connsiteX24" fmla="*/ 624215 w 827897"/>
                <a:gd name="connsiteY24" fmla="*/ 147882 h 501163"/>
                <a:gd name="connsiteX25" fmla="*/ 632605 w 827897"/>
                <a:gd name="connsiteY25" fmla="*/ 127194 h 501163"/>
                <a:gd name="connsiteX26" fmla="*/ 640843 w 827897"/>
                <a:gd name="connsiteY26" fmla="*/ 105404 h 501163"/>
                <a:gd name="connsiteX27" fmla="*/ 491122 w 827897"/>
                <a:gd name="connsiteY27" fmla="*/ 72586 h 501163"/>
                <a:gd name="connsiteX28" fmla="*/ 359402 w 827897"/>
                <a:gd name="connsiteY28" fmla="*/ 73499 h 501163"/>
                <a:gd name="connsiteX29" fmla="*/ 318787 w 827897"/>
                <a:gd name="connsiteY29" fmla="*/ 78785 h 501163"/>
                <a:gd name="connsiteX30" fmla="*/ 378660 w 827897"/>
                <a:gd name="connsiteY30" fmla="*/ 62775 h 501163"/>
                <a:gd name="connsiteX31" fmla="*/ 719326 w 827897"/>
                <a:gd name="connsiteY31" fmla="*/ 75704 h 501163"/>
                <a:gd name="connsiteX32" fmla="*/ 814932 w 827897"/>
                <a:gd name="connsiteY32" fmla="*/ 114303 h 501163"/>
                <a:gd name="connsiteX33" fmla="*/ 827898 w 827897"/>
                <a:gd name="connsiteY33" fmla="*/ 120882 h 501163"/>
                <a:gd name="connsiteX34" fmla="*/ 800707 w 827897"/>
                <a:gd name="connsiteY34" fmla="*/ 98673 h 501163"/>
                <a:gd name="connsiteX35" fmla="*/ 543177 w 827897"/>
                <a:gd name="connsiteY35" fmla="*/ 5314 h 501163"/>
                <a:gd name="connsiteX36" fmla="*/ 198660 w 827897"/>
                <a:gd name="connsiteY36" fmla="*/ 50377 h 501163"/>
                <a:gd name="connsiteX37" fmla="*/ 83491 w 827897"/>
                <a:gd name="connsiteY37" fmla="*/ 121908 h 501163"/>
                <a:gd name="connsiteX38" fmla="*/ 76855 w 827897"/>
                <a:gd name="connsiteY38" fmla="*/ 128183 h 501163"/>
                <a:gd name="connsiteX39" fmla="*/ 2987 w 827897"/>
                <a:gd name="connsiteY39" fmla="*/ 254551 h 501163"/>
                <a:gd name="connsiteX40" fmla="*/ 42037 w 827897"/>
                <a:gd name="connsiteY40" fmla="*/ 408907 h 501163"/>
                <a:gd name="connsiteX41" fmla="*/ 119338 w 827897"/>
                <a:gd name="connsiteY41" fmla="*/ 481883 h 501163"/>
                <a:gd name="connsiteX42" fmla="*/ 150838 w 827897"/>
                <a:gd name="connsiteY42" fmla="*/ 501163 h 501163"/>
                <a:gd name="connsiteX43" fmla="*/ 150838 w 827897"/>
                <a:gd name="connsiteY43" fmla="*/ 501163 h 50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27897" h="501163">
                  <a:moveTo>
                    <a:pt x="150876" y="501163"/>
                  </a:moveTo>
                  <a:cubicBezTo>
                    <a:pt x="149427" y="498768"/>
                    <a:pt x="137834" y="488386"/>
                    <a:pt x="133944" y="484317"/>
                  </a:cubicBezTo>
                  <a:cubicBezTo>
                    <a:pt x="90851" y="439215"/>
                    <a:pt x="63165" y="385330"/>
                    <a:pt x="68694" y="316765"/>
                  </a:cubicBezTo>
                  <a:cubicBezTo>
                    <a:pt x="68809" y="316917"/>
                    <a:pt x="68999" y="316993"/>
                    <a:pt x="69076" y="317297"/>
                  </a:cubicBezTo>
                  <a:lnTo>
                    <a:pt x="78609" y="334600"/>
                  </a:lnTo>
                  <a:cubicBezTo>
                    <a:pt x="97715" y="364718"/>
                    <a:pt x="121474" y="383808"/>
                    <a:pt x="151601" y="403013"/>
                  </a:cubicBezTo>
                  <a:cubicBezTo>
                    <a:pt x="160105" y="408451"/>
                    <a:pt x="178792" y="419213"/>
                    <a:pt x="188364" y="422483"/>
                  </a:cubicBezTo>
                  <a:lnTo>
                    <a:pt x="188516" y="141569"/>
                  </a:lnTo>
                  <a:cubicBezTo>
                    <a:pt x="219597" y="141873"/>
                    <a:pt x="324889" y="139706"/>
                    <a:pt x="346588" y="143166"/>
                  </a:cubicBezTo>
                  <a:cubicBezTo>
                    <a:pt x="437237" y="157617"/>
                    <a:pt x="459737" y="255615"/>
                    <a:pt x="423317" y="311441"/>
                  </a:cubicBezTo>
                  <a:cubicBezTo>
                    <a:pt x="419542" y="317259"/>
                    <a:pt x="415652" y="322811"/>
                    <a:pt x="410465" y="327679"/>
                  </a:cubicBezTo>
                  <a:cubicBezTo>
                    <a:pt x="408520" y="329504"/>
                    <a:pt x="407948" y="330759"/>
                    <a:pt x="405431" y="333079"/>
                  </a:cubicBezTo>
                  <a:cubicBezTo>
                    <a:pt x="367601" y="367951"/>
                    <a:pt x="324584" y="362551"/>
                    <a:pt x="276228" y="362437"/>
                  </a:cubicBezTo>
                  <a:lnTo>
                    <a:pt x="276228" y="453248"/>
                  </a:lnTo>
                  <a:cubicBezTo>
                    <a:pt x="276228" y="453248"/>
                    <a:pt x="308720" y="460131"/>
                    <a:pt x="308720" y="460131"/>
                  </a:cubicBezTo>
                  <a:cubicBezTo>
                    <a:pt x="320542" y="462413"/>
                    <a:pt x="331334" y="463972"/>
                    <a:pt x="343652" y="465645"/>
                  </a:cubicBezTo>
                  <a:cubicBezTo>
                    <a:pt x="398376" y="472985"/>
                    <a:pt x="442728" y="472034"/>
                    <a:pt x="496843" y="467851"/>
                  </a:cubicBezTo>
                  <a:cubicBezTo>
                    <a:pt x="508855" y="466938"/>
                    <a:pt x="521631" y="465151"/>
                    <a:pt x="532804" y="463363"/>
                  </a:cubicBezTo>
                  <a:lnTo>
                    <a:pt x="563847" y="457735"/>
                  </a:lnTo>
                  <a:lnTo>
                    <a:pt x="548173" y="421646"/>
                  </a:lnTo>
                  <a:lnTo>
                    <a:pt x="426559" y="141721"/>
                  </a:lnTo>
                  <a:lnTo>
                    <a:pt x="521478" y="141569"/>
                  </a:lnTo>
                  <a:lnTo>
                    <a:pt x="573533" y="272500"/>
                  </a:lnTo>
                  <a:cubicBezTo>
                    <a:pt x="576355" y="269192"/>
                    <a:pt x="587948" y="238161"/>
                    <a:pt x="590656" y="231430"/>
                  </a:cubicBezTo>
                  <a:lnTo>
                    <a:pt x="624215" y="147882"/>
                  </a:lnTo>
                  <a:cubicBezTo>
                    <a:pt x="626961" y="140999"/>
                    <a:pt x="629593" y="134724"/>
                    <a:pt x="632605" y="127194"/>
                  </a:cubicBezTo>
                  <a:cubicBezTo>
                    <a:pt x="634436" y="122593"/>
                    <a:pt x="640347" y="109435"/>
                    <a:pt x="640843" y="105404"/>
                  </a:cubicBezTo>
                  <a:cubicBezTo>
                    <a:pt x="596186" y="89394"/>
                    <a:pt x="544588" y="76693"/>
                    <a:pt x="491122" y="72586"/>
                  </a:cubicBezTo>
                  <a:cubicBezTo>
                    <a:pt x="445207" y="69087"/>
                    <a:pt x="405241" y="68517"/>
                    <a:pt x="359402" y="73499"/>
                  </a:cubicBezTo>
                  <a:lnTo>
                    <a:pt x="318787" y="78785"/>
                  </a:lnTo>
                  <a:cubicBezTo>
                    <a:pt x="326071" y="74868"/>
                    <a:pt x="368059" y="65094"/>
                    <a:pt x="378660" y="62775"/>
                  </a:cubicBezTo>
                  <a:cubicBezTo>
                    <a:pt x="483114" y="39730"/>
                    <a:pt x="616359" y="43228"/>
                    <a:pt x="719326" y="75704"/>
                  </a:cubicBezTo>
                  <a:cubicBezTo>
                    <a:pt x="761122" y="88900"/>
                    <a:pt x="778245" y="96011"/>
                    <a:pt x="814932" y="114303"/>
                  </a:cubicBezTo>
                  <a:cubicBezTo>
                    <a:pt x="819012" y="116318"/>
                    <a:pt x="823970" y="119589"/>
                    <a:pt x="827898" y="120882"/>
                  </a:cubicBezTo>
                  <a:cubicBezTo>
                    <a:pt x="825190" y="116775"/>
                    <a:pt x="806580" y="102970"/>
                    <a:pt x="800707" y="98673"/>
                  </a:cubicBezTo>
                  <a:cubicBezTo>
                    <a:pt x="729317" y="46270"/>
                    <a:pt x="632834" y="16761"/>
                    <a:pt x="543177" y="5314"/>
                  </a:cubicBezTo>
                  <a:cubicBezTo>
                    <a:pt x="423355" y="-10011"/>
                    <a:pt x="293237" y="8661"/>
                    <a:pt x="198660" y="50377"/>
                  </a:cubicBezTo>
                  <a:cubicBezTo>
                    <a:pt x="147177" y="73080"/>
                    <a:pt x="123533" y="88748"/>
                    <a:pt x="83491" y="121908"/>
                  </a:cubicBezTo>
                  <a:cubicBezTo>
                    <a:pt x="80821" y="124114"/>
                    <a:pt x="79372" y="125825"/>
                    <a:pt x="76855" y="128183"/>
                  </a:cubicBezTo>
                  <a:cubicBezTo>
                    <a:pt x="45775" y="157351"/>
                    <a:pt x="13321" y="197965"/>
                    <a:pt x="2987" y="254551"/>
                  </a:cubicBezTo>
                  <a:cubicBezTo>
                    <a:pt x="-8302" y="316461"/>
                    <a:pt x="14084" y="371259"/>
                    <a:pt x="42037" y="408907"/>
                  </a:cubicBezTo>
                  <a:cubicBezTo>
                    <a:pt x="63279" y="437466"/>
                    <a:pt x="90431" y="462223"/>
                    <a:pt x="119338" y="481883"/>
                  </a:cubicBezTo>
                  <a:cubicBezTo>
                    <a:pt x="125859" y="486332"/>
                    <a:pt x="144012" y="499110"/>
                    <a:pt x="150838" y="501163"/>
                  </a:cubicBezTo>
                  <a:lnTo>
                    <a:pt x="150838" y="501163"/>
                  </a:lnTo>
                  <a:close/>
                </a:path>
              </a:pathLst>
            </a:custGeom>
            <a:solidFill>
              <a:srgbClr val="284191"/>
            </a:solidFill>
            <a:ln w="3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69BB3800-6D62-5EDB-0D58-32E2D50782FB}"/>
                </a:ext>
              </a:extLst>
            </p:cNvPr>
            <p:cNvSpPr/>
            <p:nvPr/>
          </p:nvSpPr>
          <p:spPr>
            <a:xfrm>
              <a:off x="10954887" y="435345"/>
              <a:ext cx="686883" cy="398050"/>
            </a:xfrm>
            <a:custGeom>
              <a:avLst/>
              <a:gdLst>
                <a:gd name="connsiteX0" fmla="*/ 586297 w 686883"/>
                <a:gd name="connsiteY0" fmla="*/ 38 h 398050"/>
                <a:gd name="connsiteX1" fmla="*/ 636140 w 686883"/>
                <a:gd name="connsiteY1" fmla="*/ 59552 h 398050"/>
                <a:gd name="connsiteX2" fmla="*/ 660013 w 686883"/>
                <a:gd name="connsiteY2" fmla="*/ 144583 h 398050"/>
                <a:gd name="connsiteX3" fmla="*/ 617492 w 686883"/>
                <a:gd name="connsiteY3" fmla="*/ 238513 h 398050"/>
                <a:gd name="connsiteX4" fmla="*/ 426394 w 686883"/>
                <a:gd name="connsiteY4" fmla="*/ 346513 h 398050"/>
                <a:gd name="connsiteX5" fmla="*/ 288648 w 686883"/>
                <a:gd name="connsiteY5" fmla="*/ 372182 h 398050"/>
                <a:gd name="connsiteX6" fmla="*/ 237661 w 686883"/>
                <a:gd name="connsiteY6" fmla="*/ 375376 h 398050"/>
                <a:gd name="connsiteX7" fmla="*/ 93508 w 686883"/>
                <a:gd name="connsiteY7" fmla="*/ 365793 h 398050"/>
                <a:gd name="connsiteX8" fmla="*/ 0 w 686883"/>
                <a:gd name="connsiteY8" fmla="*/ 344916 h 398050"/>
                <a:gd name="connsiteX9" fmla="*/ 40195 w 686883"/>
                <a:gd name="connsiteY9" fmla="*/ 364918 h 398050"/>
                <a:gd name="connsiteX10" fmla="*/ 226335 w 686883"/>
                <a:gd name="connsiteY10" fmla="*/ 397927 h 398050"/>
                <a:gd name="connsiteX11" fmla="*/ 449199 w 686883"/>
                <a:gd name="connsiteY11" fmla="*/ 367618 h 398050"/>
                <a:gd name="connsiteX12" fmla="*/ 608911 w 686883"/>
                <a:gd name="connsiteY12" fmla="*/ 292094 h 398050"/>
                <a:gd name="connsiteX13" fmla="*/ 684267 w 686883"/>
                <a:gd name="connsiteY13" fmla="*/ 137320 h 398050"/>
                <a:gd name="connsiteX14" fmla="*/ 645292 w 686883"/>
                <a:gd name="connsiteY14" fmla="*/ 58373 h 398050"/>
                <a:gd name="connsiteX15" fmla="*/ 617415 w 686883"/>
                <a:gd name="connsiteY15" fmla="*/ 27304 h 398050"/>
                <a:gd name="connsiteX16" fmla="*/ 586220 w 686883"/>
                <a:gd name="connsiteY16" fmla="*/ 0 h 398050"/>
                <a:gd name="connsiteX17" fmla="*/ 586220 w 686883"/>
                <a:gd name="connsiteY17" fmla="*/ 0 h 39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6883" h="398050">
                  <a:moveTo>
                    <a:pt x="586297" y="38"/>
                  </a:moveTo>
                  <a:cubicBezTo>
                    <a:pt x="587708" y="2662"/>
                    <a:pt x="618712" y="29624"/>
                    <a:pt x="636140" y="59552"/>
                  </a:cubicBezTo>
                  <a:cubicBezTo>
                    <a:pt x="649106" y="81837"/>
                    <a:pt x="662339" y="110320"/>
                    <a:pt x="660013" y="144583"/>
                  </a:cubicBezTo>
                  <a:cubicBezTo>
                    <a:pt x="657458" y="182459"/>
                    <a:pt x="639839" y="214023"/>
                    <a:pt x="617492" y="238513"/>
                  </a:cubicBezTo>
                  <a:cubicBezTo>
                    <a:pt x="568411" y="292323"/>
                    <a:pt x="500339" y="325027"/>
                    <a:pt x="426394" y="346513"/>
                  </a:cubicBezTo>
                  <a:cubicBezTo>
                    <a:pt x="388220" y="357579"/>
                    <a:pt x="330216" y="369444"/>
                    <a:pt x="288648" y="372182"/>
                  </a:cubicBezTo>
                  <a:cubicBezTo>
                    <a:pt x="272441" y="373246"/>
                    <a:pt x="253754" y="375338"/>
                    <a:pt x="237661" y="375376"/>
                  </a:cubicBezTo>
                  <a:cubicBezTo>
                    <a:pt x="184576" y="375376"/>
                    <a:pt x="150292" y="375528"/>
                    <a:pt x="93508" y="365793"/>
                  </a:cubicBezTo>
                  <a:cubicBezTo>
                    <a:pt x="70208" y="361800"/>
                    <a:pt x="20326" y="352521"/>
                    <a:pt x="0" y="344916"/>
                  </a:cubicBezTo>
                  <a:cubicBezTo>
                    <a:pt x="2403" y="348908"/>
                    <a:pt x="33788" y="362408"/>
                    <a:pt x="40195" y="364918"/>
                  </a:cubicBezTo>
                  <a:cubicBezTo>
                    <a:pt x="101479" y="388686"/>
                    <a:pt x="160360" y="396672"/>
                    <a:pt x="226335" y="397927"/>
                  </a:cubicBezTo>
                  <a:cubicBezTo>
                    <a:pt x="305085" y="399448"/>
                    <a:pt x="380479" y="386785"/>
                    <a:pt x="449199" y="367618"/>
                  </a:cubicBezTo>
                  <a:cubicBezTo>
                    <a:pt x="506479" y="351647"/>
                    <a:pt x="568640" y="323125"/>
                    <a:pt x="608911" y="292094"/>
                  </a:cubicBezTo>
                  <a:cubicBezTo>
                    <a:pt x="655970" y="255892"/>
                    <a:pt x="697920" y="203641"/>
                    <a:pt x="684267" y="137320"/>
                  </a:cubicBezTo>
                  <a:cubicBezTo>
                    <a:pt x="677441" y="104007"/>
                    <a:pt x="662339" y="81038"/>
                    <a:pt x="645292" y="58373"/>
                  </a:cubicBezTo>
                  <a:cubicBezTo>
                    <a:pt x="638924" y="49893"/>
                    <a:pt x="624394" y="33541"/>
                    <a:pt x="617415" y="27304"/>
                  </a:cubicBezTo>
                  <a:cubicBezTo>
                    <a:pt x="610360" y="21030"/>
                    <a:pt x="593619" y="4221"/>
                    <a:pt x="586220" y="0"/>
                  </a:cubicBezTo>
                  <a:lnTo>
                    <a:pt x="586220" y="0"/>
                  </a:lnTo>
                  <a:close/>
                </a:path>
              </a:pathLst>
            </a:custGeom>
            <a:solidFill>
              <a:srgbClr val="96AAD2"/>
            </a:solidFill>
            <a:ln w="3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2397540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71" r:id="rId3"/>
    <p:sldLayoutId id="2147483650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74" r:id="rId13"/>
    <p:sldLayoutId id="2147483676" r:id="rId14"/>
    <p:sldLayoutId id="2147483675" r:id="rId15"/>
    <p:sldLayoutId id="2147483677" r:id="rId16"/>
    <p:sldLayoutId id="2147483688" r:id="rId17"/>
    <p:sldLayoutId id="2147483689" r:id="rId18"/>
    <p:sldLayoutId id="2147483681" r:id="rId19"/>
    <p:sldLayoutId id="2147483682" r:id="rId20"/>
    <p:sldLayoutId id="2147483684" r:id="rId21"/>
    <p:sldLayoutId id="2147483685" r:id="rId22"/>
    <p:sldLayoutId id="2147483655" r:id="rId23"/>
    <p:sldLayoutId id="2147483680" r:id="rId24"/>
    <p:sldLayoutId id="2147483668" r:id="rId25"/>
    <p:sldLayoutId id="2147483669" r:id="rId26"/>
    <p:sldLayoutId id="2147483672" r:id="rId27"/>
    <p:sldLayoutId id="2147483673" r:id="rId28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20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4000"/>
        </a:lnSpc>
        <a:spcBef>
          <a:spcPts val="900"/>
        </a:spcBef>
        <a:buFont typeface="Soleil Lt" panose="00000400000000000000" pitchFamily="50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14000"/>
        </a:lnSpc>
        <a:spcBef>
          <a:spcPts val="900"/>
        </a:spcBef>
        <a:buClr>
          <a:schemeClr val="accent2"/>
        </a:buClr>
        <a:buFont typeface="Soleil Lt" panose="00000400000000000000" pitchFamily="50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71463" algn="l" defTabSz="914400" rtl="0" eaLnBrk="1" latinLnBrk="0" hangingPunct="1">
        <a:lnSpc>
          <a:spcPct val="114000"/>
        </a:lnSpc>
        <a:spcBef>
          <a:spcPts val="900"/>
        </a:spcBef>
        <a:buClr>
          <a:schemeClr val="tx2"/>
        </a:buClr>
        <a:buFont typeface="Soleil Lt" panose="00000400000000000000" pitchFamily="50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270000" algn="l" defTabSz="914400" rtl="0" eaLnBrk="1" latinLnBrk="0" hangingPunct="1">
        <a:lnSpc>
          <a:spcPct val="114000"/>
        </a:lnSpc>
        <a:spcBef>
          <a:spcPts val="900"/>
        </a:spcBef>
        <a:buClr>
          <a:schemeClr val="tx2"/>
        </a:buClr>
        <a:buFont typeface="Soleil Lt" panose="00000400000000000000" pitchFamily="50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orient="horz" pos="4042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5" orient="horz" pos="1139" userDrawn="1">
          <p15:clr>
            <a:srgbClr val="F26B43"/>
          </p15:clr>
        </p15:guide>
        <p15:guide id="6" pos="65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png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50" b="4250"/>
          <a:stretch>
            <a:fillRect/>
          </a:stretch>
        </p:blipFill>
        <p:spPr/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8733704" y="6389945"/>
            <a:ext cx="3458296" cy="288147"/>
          </a:xfrm>
          <a:solidFill>
            <a:srgbClr val="F1F0EF">
              <a:alpha val="92000"/>
            </a:srgbClr>
          </a:solidFill>
        </p:spPr>
        <p:txBody>
          <a:bodyPr/>
          <a:lstStyle/>
          <a:p>
            <a:r>
              <a:rPr lang="de-AT" b="1" dirty="0" err="1">
                <a:solidFill>
                  <a:srgbClr val="284191">
                    <a:alpha val="92000"/>
                  </a:srgbClr>
                </a:solidFill>
              </a:rPr>
              <a:t>Mag.</a:t>
            </a:r>
            <a:r>
              <a:rPr lang="de-AT" b="1" baseline="30000" dirty="0" err="1">
                <a:solidFill>
                  <a:srgbClr val="284191">
                    <a:alpha val="92000"/>
                  </a:srgbClr>
                </a:solidFill>
              </a:rPr>
              <a:t>a</a:t>
            </a:r>
            <a:r>
              <a:rPr lang="de-AT" b="1" dirty="0">
                <a:solidFill>
                  <a:srgbClr val="284191">
                    <a:alpha val="92000"/>
                  </a:srgbClr>
                </a:solidFill>
              </a:rPr>
              <a:t> Katharina Krusch-Batruel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0" y="4811099"/>
            <a:ext cx="7659767" cy="626701"/>
          </a:xfrm>
        </p:spPr>
        <p:txBody>
          <a:bodyPr/>
          <a:lstStyle/>
          <a:p>
            <a:r>
              <a:rPr lang="de-AT" dirty="0"/>
              <a:t>Ihr Partner für soziale Sicherhei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1981200" y="702404"/>
            <a:ext cx="1247775" cy="246221"/>
          </a:xfrm>
          <a:prstGeom prst="rect">
            <a:avLst/>
          </a:prstGeom>
          <a:solidFill>
            <a:srgbClr val="F1F0EF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600" b="1" dirty="0">
                <a:solidFill>
                  <a:schemeClr val="bg1">
                    <a:lumMod val="50000"/>
                  </a:schemeClr>
                </a:solidFill>
              </a:rPr>
              <a:t>Steiermark</a:t>
            </a:r>
          </a:p>
        </p:txBody>
      </p:sp>
      <p:sp>
        <p:nvSpPr>
          <p:cNvPr id="9" name="Titel 4"/>
          <p:cNvSpPr txBox="1">
            <a:spLocks/>
          </p:cNvSpPr>
          <p:nvPr/>
        </p:nvSpPr>
        <p:spPr>
          <a:xfrm>
            <a:off x="1914525" y="5658824"/>
            <a:ext cx="6451103" cy="626701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36000" rIns="180000" bIns="36000" rtlCol="0" anchor="ctr">
            <a:spAutoFit/>
          </a:bodyPr>
          <a:lstStyle>
            <a:lvl1pPr marL="533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bg1">
                    <a:alpha val="92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in Gegenwart und Zukunft</a:t>
            </a:r>
          </a:p>
        </p:txBody>
      </p:sp>
    </p:spTree>
    <p:extLst>
      <p:ext uri="{BB962C8B-B14F-4D97-AF65-F5344CB8AC3E}">
        <p14:creationId xmlns:p14="http://schemas.microsoft.com/office/powerpoint/2010/main" val="10673608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88" y="936942"/>
            <a:ext cx="11258550" cy="5378132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8" name="Ellipse 7"/>
          <p:cNvSpPr/>
          <p:nvPr/>
        </p:nvSpPr>
        <p:spPr>
          <a:xfrm>
            <a:off x="6953250" y="5534024"/>
            <a:ext cx="1943100" cy="514351"/>
          </a:xfrm>
          <a:prstGeom prst="ellipse">
            <a:avLst/>
          </a:pr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236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1</a:t>
            </a:fld>
            <a:endParaRPr lang="de-AT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90613" y="0"/>
            <a:ext cx="14220825" cy="7343775"/>
          </a:xfrm>
          <a:prstGeom prst="rect">
            <a:avLst/>
          </a:prstGeom>
        </p:spPr>
      </p:pic>
      <p:sp>
        <p:nvSpPr>
          <p:cNvPr id="6" name="Ellipse 5"/>
          <p:cNvSpPr/>
          <p:nvPr/>
        </p:nvSpPr>
        <p:spPr>
          <a:xfrm>
            <a:off x="-95250" y="2447925"/>
            <a:ext cx="3914775" cy="3962400"/>
          </a:xfrm>
          <a:prstGeom prst="ellipse">
            <a:avLst/>
          </a:pr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0710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2</a:t>
            </a:fld>
            <a:endParaRPr lang="de-AT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382" y="304462"/>
            <a:ext cx="6774650" cy="636932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8701" y="1433960"/>
            <a:ext cx="5079638" cy="4566789"/>
          </a:xfrm>
          <a:prstGeom prst="rect">
            <a:avLst/>
          </a:prstGeom>
        </p:spPr>
      </p:pic>
      <p:sp>
        <p:nvSpPr>
          <p:cNvPr id="10" name="Pfeil nach rechts 9"/>
          <p:cNvSpPr/>
          <p:nvPr/>
        </p:nvSpPr>
        <p:spPr>
          <a:xfrm>
            <a:off x="208382" y="2724150"/>
            <a:ext cx="346080" cy="190500"/>
          </a:xfrm>
          <a:prstGeom prst="rightArrow">
            <a:avLst/>
          </a:prstGeom>
          <a:solidFill>
            <a:srgbClr val="FF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14" name="Pfeil nach rechts 13"/>
          <p:cNvSpPr/>
          <p:nvPr/>
        </p:nvSpPr>
        <p:spPr>
          <a:xfrm>
            <a:off x="7096122" y="4762500"/>
            <a:ext cx="600075" cy="438150"/>
          </a:xfrm>
          <a:prstGeom prst="rightArrow">
            <a:avLst/>
          </a:prstGeom>
          <a:solidFill>
            <a:srgbClr val="FF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461821" y="2721173"/>
            <a:ext cx="11294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00B050"/>
                </a:solidFill>
                <a:latin typeface="+mj-lt"/>
              </a:rPr>
              <a:t>Wann?</a:t>
            </a:r>
          </a:p>
        </p:txBody>
      </p:sp>
      <p:sp>
        <p:nvSpPr>
          <p:cNvPr id="16" name="Pfeil nach rechts 15"/>
          <p:cNvSpPr/>
          <p:nvPr/>
        </p:nvSpPr>
        <p:spPr>
          <a:xfrm>
            <a:off x="208382" y="2914650"/>
            <a:ext cx="346080" cy="190500"/>
          </a:xfrm>
          <a:prstGeom prst="rightArrow">
            <a:avLst/>
          </a:prstGeom>
          <a:solidFill>
            <a:srgbClr val="00B05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08382" y="3200400"/>
            <a:ext cx="387667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3000" dirty="0">
                <a:solidFill>
                  <a:srgbClr val="FF0000"/>
                </a:solidFill>
                <a:latin typeface="Freestyle Script" panose="030804020302050B0404" pitchFamily="66" charset="0"/>
              </a:rPr>
              <a:t>und Pensionsvorausberechnung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1927644" y="34785"/>
            <a:ext cx="2638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b="1" dirty="0">
                <a:solidFill>
                  <a:srgbClr val="FF0000"/>
                </a:solidFill>
              </a:rPr>
              <a:t>1. Seite des Antrage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8166519" y="1125069"/>
            <a:ext cx="2638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b="1" dirty="0">
                <a:solidFill>
                  <a:srgbClr val="FF0000"/>
                </a:solidFill>
              </a:rPr>
              <a:t>3. Seite des Antrage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839826" y="3277343"/>
            <a:ext cx="11294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00B050"/>
                </a:solidFill>
                <a:latin typeface="+mj-lt"/>
              </a:rPr>
              <a:t>Wieviel?</a:t>
            </a:r>
          </a:p>
        </p:txBody>
      </p:sp>
    </p:spTree>
    <p:extLst>
      <p:ext uri="{BB962C8B-B14F-4D97-AF65-F5344CB8AC3E}">
        <p14:creationId xmlns:p14="http://schemas.microsoft.com/office/powerpoint/2010/main" val="2313756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5" grpId="0"/>
      <p:bldP spid="16" grpId="0" animBg="1"/>
      <p:bldP spid="17" grpId="0"/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65385" y="365125"/>
            <a:ext cx="6672317" cy="534368"/>
          </a:xfrm>
        </p:spPr>
        <p:txBody>
          <a:bodyPr/>
          <a:lstStyle/>
          <a:p>
            <a:pPr algn="ctr"/>
            <a:r>
              <a:rPr lang="de-AT" dirty="0"/>
              <a:t>Feststellung Schwerarbeitszeiten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713954" y="1379576"/>
            <a:ext cx="7087521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Ziffer 1	Schicht- und Wechseldienst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accent2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Ziffer 2	regelmäßig unter Hitze/Kälte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accent2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Ziffer 3	chemische oder physikalische Einflüsse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accent2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rgbClr val="FF0000"/>
                </a:solidFill>
                <a:latin typeface="+mj-lt"/>
              </a:rPr>
              <a:t>Ziffer 4	</a:t>
            </a:r>
            <a:r>
              <a:rPr lang="de-DE" dirty="0">
                <a:solidFill>
                  <a:schemeClr val="accent2"/>
                </a:solidFill>
                <a:latin typeface="+mj-lt"/>
              </a:rPr>
              <a:t>schwere körperliche Arbeit</a:t>
            </a: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		Männer = 2.000 Arbeitskilokalorien</a:t>
            </a: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		Frauen       =  1.400 Arbeitskilokalorien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accent2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Ziffer 5	berufsbedingte Pflege </a:t>
            </a:r>
            <a:r>
              <a:rPr lang="de-DE" u="sng" dirty="0">
                <a:solidFill>
                  <a:schemeClr val="accent2"/>
                </a:solidFill>
                <a:latin typeface="+mj-lt"/>
              </a:rPr>
              <a:t>NEU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accent2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accent2"/>
                </a:solidFill>
                <a:latin typeface="+mj-lt"/>
              </a:rPr>
              <a:t>Ziffer 6	trotz Vorliegens einer Minderung der Erwerbsfähigkeit</a:t>
            </a:r>
          </a:p>
          <a:p>
            <a:pPr>
              <a:spcBef>
                <a:spcPts val="600"/>
              </a:spcBef>
            </a:pPr>
            <a:endParaRPr lang="de-DE" sz="1500" dirty="0">
              <a:solidFill>
                <a:schemeClr val="accent2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endParaRPr lang="de-DE" sz="1500" b="1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endParaRPr lang="de-DE" sz="15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de-DE" sz="15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de-DE" sz="15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434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4</a:t>
            </a:fld>
            <a:endParaRPr lang="de-AT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" y="1165498"/>
            <a:ext cx="5534025" cy="5184381"/>
          </a:xfrm>
          <a:prstGeom prst="rect">
            <a:avLst/>
          </a:prstGeom>
        </p:spPr>
      </p:pic>
      <p:sp>
        <p:nvSpPr>
          <p:cNvPr id="12" name="Pfeil nach rechts 11"/>
          <p:cNvSpPr/>
          <p:nvPr/>
        </p:nvSpPr>
        <p:spPr>
          <a:xfrm rot="7770941">
            <a:off x="2849859" y="2842250"/>
            <a:ext cx="655643" cy="351037"/>
          </a:xfrm>
          <a:prstGeom prst="rightArrow">
            <a:avLst/>
          </a:prstGeom>
          <a:solidFill>
            <a:srgbClr val="FF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8575" y="1552837"/>
            <a:ext cx="6378175" cy="408057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1422819" y="864321"/>
            <a:ext cx="2638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b="1" dirty="0">
                <a:solidFill>
                  <a:srgbClr val="FF0000"/>
                </a:solidFill>
              </a:rPr>
              <a:t>1. Seite des Antrages</a:t>
            </a:r>
          </a:p>
        </p:txBody>
      </p:sp>
    </p:spTree>
    <p:extLst>
      <p:ext uri="{BB962C8B-B14F-4D97-AF65-F5344CB8AC3E}">
        <p14:creationId xmlns:p14="http://schemas.microsoft.com/office/powerpoint/2010/main" val="2267558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8100"/>
            <a:ext cx="12020550" cy="70294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269578" y="294527"/>
            <a:ext cx="5846770" cy="534368"/>
          </a:xfrm>
        </p:spPr>
        <p:txBody>
          <a:bodyPr/>
          <a:lstStyle/>
          <a:p>
            <a:pPr algn="ctr"/>
            <a:r>
              <a:rPr lang="de-AT" dirty="0"/>
              <a:t>Entstehung von Ansprüch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991022" y="1695987"/>
            <a:ext cx="8400567" cy="3662541"/>
          </a:xfrm>
          <a:solidFill>
            <a:srgbClr val="F1F0EF"/>
          </a:solidFill>
        </p:spPr>
        <p:txBody>
          <a:bodyPr/>
          <a:lstStyle/>
          <a:p>
            <a:r>
              <a:rPr lang="de-AT" dirty="0"/>
              <a:t>Eintritt des Versicherungsfalles</a:t>
            </a:r>
          </a:p>
          <a:p>
            <a:endParaRPr lang="de-AT" dirty="0"/>
          </a:p>
          <a:p>
            <a:r>
              <a:rPr lang="de-AT" dirty="0"/>
              <a:t>Allgemeine Anspruchsvoraussetzungen (Wartezeit)</a:t>
            </a:r>
          </a:p>
          <a:p>
            <a:endParaRPr lang="de-AT" dirty="0"/>
          </a:p>
          <a:p>
            <a:r>
              <a:rPr lang="de-AT" dirty="0"/>
              <a:t>besondere Anspruchsvoraussetzungen</a:t>
            </a:r>
          </a:p>
          <a:p>
            <a:endParaRPr lang="de-AT" dirty="0"/>
          </a:p>
          <a:p>
            <a:r>
              <a:rPr lang="de-AT" dirty="0"/>
              <a:t>Leistungsanspruch entsteht kraft Gesetz</a:t>
            </a:r>
          </a:p>
          <a:p>
            <a:endParaRPr lang="de-AT" dirty="0"/>
          </a:p>
          <a:p>
            <a:r>
              <a:rPr lang="de-AT" dirty="0">
                <a:solidFill>
                  <a:srgbClr val="92D050"/>
                </a:solidFill>
              </a:rPr>
              <a:t>		      Antragsprinzip!!</a:t>
            </a:r>
            <a:r>
              <a:rPr lang="de-AT" dirty="0"/>
              <a:t>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63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526" y="-47625"/>
            <a:ext cx="12201525" cy="70294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6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85725" y="246408"/>
            <a:ext cx="6048375" cy="534368"/>
          </a:xfrm>
        </p:spPr>
        <p:txBody>
          <a:bodyPr/>
          <a:lstStyle/>
          <a:p>
            <a:pPr algn="ctr"/>
            <a:r>
              <a:rPr lang="de-AT" dirty="0"/>
              <a:t>Versicherungsfall…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994188" y="1768441"/>
            <a:ext cx="6646950" cy="3339376"/>
          </a:xfrm>
          <a:solidFill>
            <a:srgbClr val="F1F0EF"/>
          </a:solidFill>
        </p:spPr>
        <p:txBody>
          <a:bodyPr/>
          <a:lstStyle/>
          <a:p>
            <a:r>
              <a:rPr lang="de-AT" sz="3000" dirty="0"/>
              <a:t>…der geminderten Arbeitsfähigkeit</a:t>
            </a:r>
          </a:p>
          <a:p>
            <a:endParaRPr lang="de-AT" sz="3000" dirty="0"/>
          </a:p>
          <a:p>
            <a:r>
              <a:rPr lang="de-AT" sz="3000" dirty="0"/>
              <a:t>…des Todes</a:t>
            </a:r>
          </a:p>
          <a:p>
            <a:endParaRPr lang="de-AT" sz="3000" dirty="0"/>
          </a:p>
          <a:p>
            <a:r>
              <a:rPr lang="de-AT" sz="5000" dirty="0"/>
              <a:t>…des Alters</a:t>
            </a:r>
          </a:p>
          <a:p>
            <a:endParaRPr lang="de-AT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453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5725" y="-219075"/>
            <a:ext cx="12277725" cy="72580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7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89293" y="459889"/>
            <a:ext cx="10386474" cy="503590"/>
          </a:xfrm>
        </p:spPr>
        <p:txBody>
          <a:bodyPr/>
          <a:lstStyle/>
          <a:p>
            <a:r>
              <a:rPr lang="de-AT" sz="2800" dirty="0"/>
              <a:t>Leistungen aus dem VF der geminderten Arbeitsfähigkei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535126" y="2125727"/>
            <a:ext cx="5738111" cy="3247043"/>
          </a:xfrm>
          <a:solidFill>
            <a:srgbClr val="F1F0EF"/>
          </a:solidFill>
        </p:spPr>
        <p:txBody>
          <a:bodyPr/>
          <a:lstStyle/>
          <a:p>
            <a:r>
              <a:rPr lang="de-AT" dirty="0"/>
              <a:t>Invaliditätspension</a:t>
            </a:r>
          </a:p>
          <a:p>
            <a:r>
              <a:rPr lang="de-AT" dirty="0"/>
              <a:t>Berufsunfähigkeitspension</a:t>
            </a:r>
          </a:p>
          <a:p>
            <a:endParaRPr lang="de-AT" dirty="0"/>
          </a:p>
          <a:p>
            <a:r>
              <a:rPr lang="de-AT" dirty="0"/>
              <a:t>Umschulungsgeld (AMS)</a:t>
            </a:r>
          </a:p>
          <a:p>
            <a:r>
              <a:rPr lang="de-AT" dirty="0"/>
              <a:t>Rehabilitationsgeld (ÖGK)</a:t>
            </a:r>
          </a:p>
          <a:p>
            <a:endParaRPr lang="de-AT" dirty="0"/>
          </a:p>
          <a:p>
            <a:r>
              <a:rPr lang="de-AT" dirty="0"/>
              <a:t>Antrag auf </a:t>
            </a:r>
            <a:r>
              <a:rPr lang="de-AT" u="sng" dirty="0">
                <a:solidFill>
                  <a:srgbClr val="92D050"/>
                </a:solidFill>
              </a:rPr>
              <a:t>Feststellung</a:t>
            </a:r>
            <a:r>
              <a:rPr lang="de-AT" dirty="0"/>
              <a:t> von BU/IV</a:t>
            </a:r>
          </a:p>
          <a:p>
            <a:endParaRPr lang="de-AT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4615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5725" y="-219075"/>
            <a:ext cx="12277725" cy="72580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1209673" y="323352"/>
            <a:ext cx="9505948" cy="380480"/>
          </a:xfrm>
        </p:spPr>
        <p:txBody>
          <a:bodyPr/>
          <a:lstStyle/>
          <a:p>
            <a:pPr algn="ctr"/>
            <a:r>
              <a:rPr lang="de-AT" sz="2000" dirty="0"/>
              <a:t>Leistungen aus dem VF der geminderten Arbeitsfähigkei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4" name="Flussdiagramm: Verbindungsstelle 20"/>
          <p:cNvSpPr/>
          <p:nvPr/>
        </p:nvSpPr>
        <p:spPr>
          <a:xfrm>
            <a:off x="5309695" y="1658516"/>
            <a:ext cx="4096072" cy="3960440"/>
          </a:xfrm>
          <a:prstGeom prst="flowChartConnector">
            <a:avLst/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gemeiner Arbeitsmarkt</a:t>
            </a:r>
            <a:endParaRPr kumimoji="0" lang="de-AT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lussdiagramm: Verbindungsstelle 19"/>
          <p:cNvSpPr/>
          <p:nvPr/>
        </p:nvSpPr>
        <p:spPr>
          <a:xfrm>
            <a:off x="5312003" y="2358046"/>
            <a:ext cx="2664296" cy="2448272"/>
          </a:xfrm>
          <a:prstGeom prst="flowChartConnector">
            <a:avLst/>
          </a:prstGeom>
          <a:solidFill>
            <a:srgbClr val="4F81BD">
              <a:lumMod val="40000"/>
              <a:lumOff val="60000"/>
            </a:srgb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rufsgruppe</a:t>
            </a:r>
            <a:endParaRPr kumimoji="0" lang="de-AT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lussdiagramm: Verbindungsstelle 17"/>
          <p:cNvSpPr/>
          <p:nvPr/>
        </p:nvSpPr>
        <p:spPr>
          <a:xfrm>
            <a:off x="5301843" y="3150134"/>
            <a:ext cx="936104" cy="864096"/>
          </a:xfrm>
          <a:prstGeom prst="flowChartConnector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ruf</a:t>
            </a:r>
            <a:endParaRPr kumimoji="0" lang="de-AT" sz="1600" b="1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4188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277725" cy="7134225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403202" y="246408"/>
            <a:ext cx="7108802" cy="534368"/>
          </a:xfrm>
        </p:spPr>
        <p:txBody>
          <a:bodyPr/>
          <a:lstStyle/>
          <a:p>
            <a:pPr algn="ctr"/>
            <a:r>
              <a:rPr lang="de-AT" dirty="0"/>
              <a:t>Leistungen aus dem VF des Tod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267325" y="2146705"/>
            <a:ext cx="7263611" cy="3247043"/>
          </a:xfrm>
          <a:solidFill>
            <a:srgbClr val="F1F0EF"/>
          </a:solidFill>
        </p:spPr>
        <p:txBody>
          <a:bodyPr/>
          <a:lstStyle/>
          <a:p>
            <a:r>
              <a:rPr lang="de-AT" dirty="0"/>
              <a:t>Witwen-/Witwerpension</a:t>
            </a:r>
          </a:p>
          <a:p>
            <a:endParaRPr lang="de-AT" dirty="0"/>
          </a:p>
          <a:p>
            <a:r>
              <a:rPr lang="de-AT" dirty="0"/>
              <a:t>Pensionen für </a:t>
            </a:r>
            <a:r>
              <a:rPr lang="de-AT" dirty="0" err="1"/>
              <a:t>hinterbliebene</a:t>
            </a:r>
            <a:r>
              <a:rPr lang="de-AT" dirty="0"/>
              <a:t> eingetragene Partner</a:t>
            </a:r>
          </a:p>
          <a:p>
            <a:endParaRPr lang="de-AT" dirty="0"/>
          </a:p>
          <a:p>
            <a:r>
              <a:rPr lang="de-AT" dirty="0"/>
              <a:t>Waisenpension</a:t>
            </a:r>
          </a:p>
          <a:p>
            <a:endParaRPr lang="de-AT" dirty="0"/>
          </a:p>
          <a:p>
            <a:r>
              <a:rPr lang="de-AT" dirty="0"/>
              <a:t>Abfindung</a:t>
            </a:r>
          </a:p>
          <a:p>
            <a:endParaRPr lang="de-AT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56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658725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5872294" cy="534368"/>
          </a:xfrm>
        </p:spPr>
        <p:txBody>
          <a:bodyPr/>
          <a:lstStyle/>
          <a:p>
            <a:pPr algn="ctr"/>
            <a:r>
              <a:rPr lang="de-AT" dirty="0"/>
              <a:t>Zahlen, Daten, Fakten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057775" y="1316022"/>
            <a:ext cx="7448550" cy="45397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e-AT" sz="3000" b="1" dirty="0">
              <a:solidFill>
                <a:srgbClr val="284191"/>
              </a:solidFill>
            </a:endParaRPr>
          </a:p>
          <a:p>
            <a:r>
              <a:rPr lang="de-AT" sz="3000" b="1" dirty="0">
                <a:solidFill>
                  <a:srgbClr val="284191"/>
                </a:solidFill>
                <a:latin typeface="+mj-lt"/>
              </a:rPr>
              <a:t>€  1.705,26 </a:t>
            </a:r>
            <a:r>
              <a:rPr lang="de-AT" sz="2000" b="1" dirty="0">
                <a:solidFill>
                  <a:srgbClr val="284191"/>
                </a:solidFill>
                <a:latin typeface="+mj-lt"/>
              </a:rPr>
              <a:t>Alterspension Frauen</a:t>
            </a:r>
            <a:endParaRPr lang="de-AT" sz="3000" b="1" dirty="0">
              <a:solidFill>
                <a:srgbClr val="284191"/>
              </a:solidFill>
              <a:latin typeface="+mj-lt"/>
            </a:endParaRPr>
          </a:p>
          <a:p>
            <a:endParaRPr lang="de-AT" sz="3000" b="1" dirty="0">
              <a:solidFill>
                <a:srgbClr val="284191"/>
              </a:solidFill>
              <a:latin typeface="+mj-lt"/>
            </a:endParaRPr>
          </a:p>
          <a:p>
            <a:r>
              <a:rPr lang="de-AT" sz="3000" b="1" dirty="0">
                <a:solidFill>
                  <a:srgbClr val="284191"/>
                </a:solidFill>
                <a:latin typeface="+mj-lt"/>
              </a:rPr>
              <a:t>€ 2.434,77 </a:t>
            </a:r>
            <a:r>
              <a:rPr lang="de-AT" sz="2000" b="1" dirty="0">
                <a:solidFill>
                  <a:srgbClr val="284191"/>
                </a:solidFill>
                <a:latin typeface="+mj-lt"/>
              </a:rPr>
              <a:t>Alterspension Männer</a:t>
            </a:r>
          </a:p>
          <a:p>
            <a:endParaRPr lang="de-AT" sz="2000" b="1" dirty="0">
              <a:solidFill>
                <a:srgbClr val="284191"/>
              </a:solidFill>
              <a:latin typeface="+mj-lt"/>
            </a:endParaRPr>
          </a:p>
          <a:p>
            <a:endParaRPr lang="de-AT" sz="2000" b="1" dirty="0">
              <a:solidFill>
                <a:srgbClr val="284191"/>
              </a:solidFill>
              <a:latin typeface="+mj-lt"/>
            </a:endParaRPr>
          </a:p>
          <a:p>
            <a:r>
              <a:rPr lang="de-AT" sz="3000" b="1" dirty="0">
                <a:solidFill>
                  <a:srgbClr val="284191"/>
                </a:solidFill>
                <a:latin typeface="+mj-lt"/>
              </a:rPr>
              <a:t>      60,7    Jahre </a:t>
            </a:r>
            <a:r>
              <a:rPr lang="de-AT" sz="2000" b="1" dirty="0">
                <a:solidFill>
                  <a:srgbClr val="284191"/>
                </a:solidFill>
                <a:latin typeface="+mj-lt"/>
              </a:rPr>
              <a:t>Pensionsantrittsalter Frau</a:t>
            </a:r>
          </a:p>
          <a:p>
            <a:endParaRPr lang="de-AT" sz="2000" b="1" dirty="0">
              <a:solidFill>
                <a:srgbClr val="284191"/>
              </a:solidFill>
              <a:latin typeface="+mj-lt"/>
            </a:endParaRPr>
          </a:p>
          <a:p>
            <a:r>
              <a:rPr lang="de-AT" sz="3000" b="1" dirty="0">
                <a:solidFill>
                  <a:srgbClr val="284191"/>
                </a:solidFill>
                <a:latin typeface="+mj-lt"/>
              </a:rPr>
              <a:t>      62,4 Jahre </a:t>
            </a:r>
            <a:r>
              <a:rPr lang="de-AT" sz="2000" b="1" dirty="0">
                <a:solidFill>
                  <a:srgbClr val="284191"/>
                </a:solidFill>
                <a:latin typeface="+mj-lt"/>
              </a:rPr>
              <a:t>Pensionsantrittsalter Männer</a:t>
            </a:r>
          </a:p>
          <a:p>
            <a:endParaRPr lang="de-AT" sz="2000" b="1" dirty="0">
              <a:solidFill>
                <a:srgbClr val="284191"/>
              </a:solidFill>
              <a:latin typeface="+mj-lt"/>
            </a:endParaRPr>
          </a:p>
          <a:p>
            <a:endParaRPr lang="de-AT" sz="2000" b="1" dirty="0">
              <a:solidFill>
                <a:srgbClr val="284191"/>
              </a:solidFill>
              <a:latin typeface="+mj-lt"/>
            </a:endParaRPr>
          </a:p>
          <a:p>
            <a:pPr algn="r"/>
            <a:r>
              <a:rPr lang="de-AT" sz="1500" dirty="0">
                <a:solidFill>
                  <a:srgbClr val="284191"/>
                </a:solidFill>
                <a:latin typeface="+mj-lt"/>
              </a:rPr>
              <a:t>    4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9462298" y="6585803"/>
            <a:ext cx="1839913" cy="1546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000" dirty="0">
                <a:solidFill>
                  <a:srgbClr val="284191"/>
                </a:solidFill>
                <a:latin typeface="Soleil Sb"/>
              </a:rPr>
              <a:t>Quelle: www.pv.at 04/26</a:t>
            </a:r>
          </a:p>
        </p:txBody>
      </p:sp>
    </p:spTree>
    <p:extLst>
      <p:ext uri="{BB962C8B-B14F-4D97-AF65-F5344CB8AC3E}">
        <p14:creationId xmlns:p14="http://schemas.microsoft.com/office/powerpoint/2010/main" val="2309528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9" name="Gerader Verbinder 108"/>
          <p:cNvCxnSpPr/>
          <p:nvPr/>
        </p:nvCxnSpPr>
        <p:spPr>
          <a:xfrm>
            <a:off x="-811131" y="3882524"/>
            <a:ext cx="13211405" cy="106287"/>
          </a:xfrm>
          <a:prstGeom prst="line">
            <a:avLst/>
          </a:prstGeom>
          <a:ln w="76200">
            <a:solidFill>
              <a:srgbClr val="2841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0</a:t>
            </a:fld>
            <a:endParaRPr lang="de-AT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9785191" y="2769782"/>
            <a:ext cx="840983" cy="1417329"/>
            <a:chOff x="7939604" y="5431146"/>
            <a:chExt cx="355595" cy="599293"/>
          </a:xfrm>
        </p:grpSpPr>
        <p:sp>
          <p:nvSpPr>
            <p:cNvPr id="13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DB44C7-3631-8C6F-2B91-EA9C99E923C7}"/>
              </a:ext>
            </a:extLst>
          </p:cNvPr>
          <p:cNvGrpSpPr>
            <a:grpSpLocks noChangeAspect="1"/>
          </p:cNvGrpSpPr>
          <p:nvPr/>
        </p:nvGrpSpPr>
        <p:grpSpPr>
          <a:xfrm>
            <a:off x="115028" y="4623562"/>
            <a:ext cx="696708" cy="1081899"/>
            <a:chOff x="1896815" y="4348889"/>
            <a:chExt cx="341561" cy="530401"/>
          </a:xfrm>
        </p:grpSpPr>
        <p:sp>
          <p:nvSpPr>
            <p:cNvPr id="42" name="Freihandform: Form 580">
              <a:extLst>
                <a:ext uri="{FF2B5EF4-FFF2-40B4-BE49-F238E27FC236}">
                  <a16:creationId xmlns:a16="http://schemas.microsoft.com/office/drawing/2014/main" id="{7C031C6B-5C16-4CE1-942E-7C3B08F5B51A}"/>
                </a:ext>
              </a:extLst>
            </p:cNvPr>
            <p:cNvSpPr/>
            <p:nvPr/>
          </p:nvSpPr>
          <p:spPr>
            <a:xfrm>
              <a:off x="1906010" y="4670817"/>
              <a:ext cx="71328" cy="208473"/>
            </a:xfrm>
            <a:custGeom>
              <a:avLst/>
              <a:gdLst>
                <a:gd name="connsiteX0" fmla="*/ 60054 w 71328"/>
                <a:gd name="connsiteY0" fmla="*/ 208467 h 208473"/>
                <a:gd name="connsiteX1" fmla="*/ 59922 w 71328"/>
                <a:gd name="connsiteY1" fmla="*/ 208467 h 208473"/>
                <a:gd name="connsiteX2" fmla="*/ 50134 w 71328"/>
                <a:gd name="connsiteY2" fmla="*/ 198428 h 208473"/>
                <a:gd name="connsiteX3" fmla="*/ 51489 w 71328"/>
                <a:gd name="connsiteY3" fmla="*/ 93119 h 208473"/>
                <a:gd name="connsiteX4" fmla="*/ 36302 w 71328"/>
                <a:gd name="connsiteY4" fmla="*/ 54298 h 208473"/>
                <a:gd name="connsiteX5" fmla="*/ 36116 w 71328"/>
                <a:gd name="connsiteY5" fmla="*/ 54093 h 208473"/>
                <a:gd name="connsiteX6" fmla="*/ 2523 w 71328"/>
                <a:gd name="connsiteY6" fmla="*/ 16521 h 208473"/>
                <a:gd name="connsiteX7" fmla="*/ 3303 w 71328"/>
                <a:gd name="connsiteY7" fmla="*/ 2523 h 208473"/>
                <a:gd name="connsiteX8" fmla="*/ 17301 w 71328"/>
                <a:gd name="connsiteY8" fmla="*/ 3303 h 208473"/>
                <a:gd name="connsiteX9" fmla="*/ 50808 w 71328"/>
                <a:gd name="connsiteY9" fmla="*/ 40776 h 208473"/>
                <a:gd name="connsiteX10" fmla="*/ 71323 w 71328"/>
                <a:gd name="connsiteY10" fmla="*/ 93364 h 208473"/>
                <a:gd name="connsiteX11" fmla="*/ 69968 w 71328"/>
                <a:gd name="connsiteY11" fmla="*/ 198685 h 208473"/>
                <a:gd name="connsiteX12" fmla="*/ 60061 w 71328"/>
                <a:gd name="connsiteY12" fmla="*/ 208473 h 208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328" h="208473">
                  <a:moveTo>
                    <a:pt x="60054" y="208467"/>
                  </a:moveTo>
                  <a:cubicBezTo>
                    <a:pt x="60008" y="208467"/>
                    <a:pt x="59968" y="208467"/>
                    <a:pt x="59922" y="208467"/>
                  </a:cubicBezTo>
                  <a:cubicBezTo>
                    <a:pt x="54450" y="208394"/>
                    <a:pt x="50068" y="203900"/>
                    <a:pt x="50134" y="198428"/>
                  </a:cubicBezTo>
                  <a:lnTo>
                    <a:pt x="51489" y="93119"/>
                  </a:lnTo>
                  <a:cubicBezTo>
                    <a:pt x="51661" y="78626"/>
                    <a:pt x="46268" y="64839"/>
                    <a:pt x="36302" y="54298"/>
                  </a:cubicBezTo>
                  <a:cubicBezTo>
                    <a:pt x="36235" y="54232"/>
                    <a:pt x="36176" y="54159"/>
                    <a:pt x="36116" y="54093"/>
                  </a:cubicBezTo>
                  <a:lnTo>
                    <a:pt x="2523" y="16521"/>
                  </a:lnTo>
                  <a:cubicBezTo>
                    <a:pt x="-1125" y="12436"/>
                    <a:pt x="-775" y="6171"/>
                    <a:pt x="3303" y="2523"/>
                  </a:cubicBezTo>
                  <a:cubicBezTo>
                    <a:pt x="7380" y="-1125"/>
                    <a:pt x="13652" y="-775"/>
                    <a:pt x="17301" y="3303"/>
                  </a:cubicBezTo>
                  <a:lnTo>
                    <a:pt x="50808" y="40776"/>
                  </a:lnTo>
                  <a:cubicBezTo>
                    <a:pt x="64271" y="55058"/>
                    <a:pt x="71554" y="73728"/>
                    <a:pt x="71323" y="93364"/>
                  </a:cubicBezTo>
                  <a:lnTo>
                    <a:pt x="69968" y="198685"/>
                  </a:lnTo>
                  <a:cubicBezTo>
                    <a:pt x="69895" y="204118"/>
                    <a:pt x="65474" y="208473"/>
                    <a:pt x="60061" y="208473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581">
              <a:extLst>
                <a:ext uri="{FF2B5EF4-FFF2-40B4-BE49-F238E27FC236}">
                  <a16:creationId xmlns:a16="http://schemas.microsoft.com/office/drawing/2014/main" id="{CB7F3136-283F-D0EA-96A5-CB1A7650C632}"/>
                </a:ext>
              </a:extLst>
            </p:cNvPr>
            <p:cNvSpPr/>
            <p:nvPr/>
          </p:nvSpPr>
          <p:spPr>
            <a:xfrm>
              <a:off x="1896815" y="4566359"/>
              <a:ext cx="130139" cy="312925"/>
            </a:xfrm>
            <a:custGeom>
              <a:avLst/>
              <a:gdLst>
                <a:gd name="connsiteX0" fmla="*/ 9914 w 130139"/>
                <a:gd name="connsiteY0" fmla="*/ 312925 h 312925"/>
                <a:gd name="connsiteX1" fmla="*/ 0 w 130139"/>
                <a:gd name="connsiteY1" fmla="*/ 303012 h 312925"/>
                <a:gd name="connsiteX2" fmla="*/ 0 w 130139"/>
                <a:gd name="connsiteY2" fmla="*/ 138116 h 312925"/>
                <a:gd name="connsiteX3" fmla="*/ 13317 w 130139"/>
                <a:gd name="connsiteY3" fmla="*/ 95336 h 312925"/>
                <a:gd name="connsiteX4" fmla="*/ 48557 w 130139"/>
                <a:gd name="connsiteY4" fmla="*/ 67671 h 312925"/>
                <a:gd name="connsiteX5" fmla="*/ 97880 w 130139"/>
                <a:gd name="connsiteY5" fmla="*/ 48894 h 312925"/>
                <a:gd name="connsiteX6" fmla="*/ 108963 w 130139"/>
                <a:gd name="connsiteY6" fmla="*/ 30753 h 312925"/>
                <a:gd name="connsiteX7" fmla="*/ 110331 w 130139"/>
                <a:gd name="connsiteY7" fmla="*/ 9280 h 312925"/>
                <a:gd name="connsiteX8" fmla="*/ 120859 w 130139"/>
                <a:gd name="connsiteY8" fmla="*/ 21 h 312925"/>
                <a:gd name="connsiteX9" fmla="*/ 130119 w 130139"/>
                <a:gd name="connsiteY9" fmla="*/ 10549 h 312925"/>
                <a:gd name="connsiteX10" fmla="*/ 128751 w 130139"/>
                <a:gd name="connsiteY10" fmla="*/ 32022 h 312925"/>
                <a:gd name="connsiteX11" fmla="*/ 106974 w 130139"/>
                <a:gd name="connsiteY11" fmla="*/ 66541 h 312925"/>
                <a:gd name="connsiteX12" fmla="*/ 105672 w 130139"/>
                <a:gd name="connsiteY12" fmla="*/ 67149 h 312925"/>
                <a:gd name="connsiteX13" fmla="*/ 55615 w 130139"/>
                <a:gd name="connsiteY13" fmla="*/ 86202 h 312925"/>
                <a:gd name="connsiteX14" fmla="*/ 19827 w 130139"/>
                <a:gd name="connsiteY14" fmla="*/ 138116 h 312925"/>
                <a:gd name="connsiteX15" fmla="*/ 19827 w 130139"/>
                <a:gd name="connsiteY15" fmla="*/ 303012 h 312925"/>
                <a:gd name="connsiteX16" fmla="*/ 9914 w 130139"/>
                <a:gd name="connsiteY16" fmla="*/ 312925 h 3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139" h="312925">
                  <a:moveTo>
                    <a:pt x="9914" y="312925"/>
                  </a:moveTo>
                  <a:cubicBezTo>
                    <a:pt x="4441" y="312925"/>
                    <a:pt x="0" y="308484"/>
                    <a:pt x="0" y="303012"/>
                  </a:cubicBezTo>
                  <a:lnTo>
                    <a:pt x="0" y="138116"/>
                  </a:lnTo>
                  <a:cubicBezTo>
                    <a:pt x="0" y="122770"/>
                    <a:pt x="4606" y="107973"/>
                    <a:pt x="13317" y="95336"/>
                  </a:cubicBezTo>
                  <a:cubicBezTo>
                    <a:pt x="22028" y="82700"/>
                    <a:pt x="34215" y="73130"/>
                    <a:pt x="48557" y="67671"/>
                  </a:cubicBezTo>
                  <a:lnTo>
                    <a:pt x="97880" y="48894"/>
                  </a:lnTo>
                  <a:cubicBezTo>
                    <a:pt x="104350" y="45035"/>
                    <a:pt x="108481" y="38307"/>
                    <a:pt x="108963" y="30753"/>
                  </a:cubicBezTo>
                  <a:lnTo>
                    <a:pt x="110331" y="9280"/>
                  </a:lnTo>
                  <a:cubicBezTo>
                    <a:pt x="110681" y="3814"/>
                    <a:pt x="115394" y="-330"/>
                    <a:pt x="120859" y="21"/>
                  </a:cubicBezTo>
                  <a:cubicBezTo>
                    <a:pt x="126325" y="371"/>
                    <a:pt x="130469" y="5083"/>
                    <a:pt x="130119" y="10549"/>
                  </a:cubicBezTo>
                  <a:lnTo>
                    <a:pt x="128751" y="32022"/>
                  </a:lnTo>
                  <a:cubicBezTo>
                    <a:pt x="127825" y="46542"/>
                    <a:pt x="119683" y="59449"/>
                    <a:pt x="106974" y="66541"/>
                  </a:cubicBezTo>
                  <a:cubicBezTo>
                    <a:pt x="106557" y="66772"/>
                    <a:pt x="106121" y="66977"/>
                    <a:pt x="105672" y="67149"/>
                  </a:cubicBezTo>
                  <a:lnTo>
                    <a:pt x="55615" y="86202"/>
                  </a:lnTo>
                  <a:cubicBezTo>
                    <a:pt x="34208" y="94351"/>
                    <a:pt x="19827" y="115216"/>
                    <a:pt x="19827" y="138116"/>
                  </a:cubicBezTo>
                  <a:lnTo>
                    <a:pt x="19827" y="303012"/>
                  </a:lnTo>
                  <a:cubicBezTo>
                    <a:pt x="19827" y="308484"/>
                    <a:pt x="15386" y="312925"/>
                    <a:pt x="9914" y="3129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582">
              <a:extLst>
                <a:ext uri="{FF2B5EF4-FFF2-40B4-BE49-F238E27FC236}">
                  <a16:creationId xmlns:a16="http://schemas.microsoft.com/office/drawing/2014/main" id="{65FD7C56-9D2C-0462-D7F0-46B80584DD52}"/>
                </a:ext>
              </a:extLst>
            </p:cNvPr>
            <p:cNvSpPr/>
            <p:nvPr/>
          </p:nvSpPr>
          <p:spPr>
            <a:xfrm>
              <a:off x="2157860" y="4670815"/>
              <a:ext cx="71330" cy="208469"/>
            </a:xfrm>
            <a:custGeom>
              <a:avLst/>
              <a:gdLst>
                <a:gd name="connsiteX0" fmla="*/ 11267 w 71330"/>
                <a:gd name="connsiteY0" fmla="*/ 208469 h 208469"/>
                <a:gd name="connsiteX1" fmla="*/ 1360 w 71330"/>
                <a:gd name="connsiteY1" fmla="*/ 198681 h 208469"/>
                <a:gd name="connsiteX2" fmla="*/ 5 w 71330"/>
                <a:gd name="connsiteY2" fmla="*/ 93373 h 208469"/>
                <a:gd name="connsiteX3" fmla="*/ 20520 w 71330"/>
                <a:gd name="connsiteY3" fmla="*/ 40778 h 208469"/>
                <a:gd name="connsiteX4" fmla="*/ 54028 w 71330"/>
                <a:gd name="connsiteY4" fmla="*/ 3305 h 208469"/>
                <a:gd name="connsiteX5" fmla="*/ 68025 w 71330"/>
                <a:gd name="connsiteY5" fmla="*/ 2525 h 208469"/>
                <a:gd name="connsiteX6" fmla="*/ 68805 w 71330"/>
                <a:gd name="connsiteY6" fmla="*/ 16523 h 208469"/>
                <a:gd name="connsiteX7" fmla="*/ 35212 w 71330"/>
                <a:gd name="connsiteY7" fmla="*/ 54095 h 208469"/>
                <a:gd name="connsiteX8" fmla="*/ 35027 w 71330"/>
                <a:gd name="connsiteY8" fmla="*/ 54300 h 208469"/>
                <a:gd name="connsiteX9" fmla="*/ 19839 w 71330"/>
                <a:gd name="connsiteY9" fmla="*/ 93128 h 208469"/>
                <a:gd name="connsiteX10" fmla="*/ 21194 w 71330"/>
                <a:gd name="connsiteY10" fmla="*/ 198423 h 208469"/>
                <a:gd name="connsiteX11" fmla="*/ 11406 w 71330"/>
                <a:gd name="connsiteY11" fmla="*/ 208462 h 208469"/>
                <a:gd name="connsiteX12" fmla="*/ 11274 w 71330"/>
                <a:gd name="connsiteY12" fmla="*/ 208462 h 20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330" h="208469">
                  <a:moveTo>
                    <a:pt x="11267" y="208469"/>
                  </a:moveTo>
                  <a:cubicBezTo>
                    <a:pt x="5854" y="208469"/>
                    <a:pt x="1426" y="204114"/>
                    <a:pt x="1360" y="198681"/>
                  </a:cubicBezTo>
                  <a:lnTo>
                    <a:pt x="5" y="93373"/>
                  </a:lnTo>
                  <a:cubicBezTo>
                    <a:pt x="-226" y="73731"/>
                    <a:pt x="7057" y="55060"/>
                    <a:pt x="20520" y="40778"/>
                  </a:cubicBezTo>
                  <a:lnTo>
                    <a:pt x="54028" y="3305"/>
                  </a:lnTo>
                  <a:cubicBezTo>
                    <a:pt x="57676" y="-779"/>
                    <a:pt x="63941" y="-1123"/>
                    <a:pt x="68025" y="2525"/>
                  </a:cubicBezTo>
                  <a:cubicBezTo>
                    <a:pt x="72110" y="6173"/>
                    <a:pt x="72454" y="12439"/>
                    <a:pt x="68805" y="16523"/>
                  </a:cubicBezTo>
                  <a:lnTo>
                    <a:pt x="35212" y="54095"/>
                  </a:lnTo>
                  <a:cubicBezTo>
                    <a:pt x="35152" y="54161"/>
                    <a:pt x="35086" y="54234"/>
                    <a:pt x="35027" y="54300"/>
                  </a:cubicBezTo>
                  <a:cubicBezTo>
                    <a:pt x="25060" y="64835"/>
                    <a:pt x="19667" y="78628"/>
                    <a:pt x="19839" y="93128"/>
                  </a:cubicBezTo>
                  <a:lnTo>
                    <a:pt x="21194" y="198423"/>
                  </a:lnTo>
                  <a:cubicBezTo>
                    <a:pt x="21267" y="203896"/>
                    <a:pt x="16885" y="208396"/>
                    <a:pt x="11406" y="208462"/>
                  </a:cubicBezTo>
                  <a:cubicBezTo>
                    <a:pt x="11360" y="208462"/>
                    <a:pt x="11320" y="208462"/>
                    <a:pt x="11274" y="208462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583">
              <a:extLst>
                <a:ext uri="{FF2B5EF4-FFF2-40B4-BE49-F238E27FC236}">
                  <a16:creationId xmlns:a16="http://schemas.microsoft.com/office/drawing/2014/main" id="{BA43143E-27C4-5044-4342-E87CCCB473A1}"/>
                </a:ext>
              </a:extLst>
            </p:cNvPr>
            <p:cNvSpPr/>
            <p:nvPr/>
          </p:nvSpPr>
          <p:spPr>
            <a:xfrm>
              <a:off x="2108237" y="4566359"/>
              <a:ext cx="130139" cy="312925"/>
            </a:xfrm>
            <a:custGeom>
              <a:avLst/>
              <a:gdLst>
                <a:gd name="connsiteX0" fmla="*/ 120226 w 130139"/>
                <a:gd name="connsiteY0" fmla="*/ 312925 h 312925"/>
                <a:gd name="connsiteX1" fmla="*/ 110312 w 130139"/>
                <a:gd name="connsiteY1" fmla="*/ 303012 h 312925"/>
                <a:gd name="connsiteX2" fmla="*/ 110312 w 130139"/>
                <a:gd name="connsiteY2" fmla="*/ 138116 h 312925"/>
                <a:gd name="connsiteX3" fmla="*/ 74524 w 130139"/>
                <a:gd name="connsiteY3" fmla="*/ 86202 h 312925"/>
                <a:gd name="connsiteX4" fmla="*/ 24467 w 130139"/>
                <a:gd name="connsiteY4" fmla="*/ 67149 h 312925"/>
                <a:gd name="connsiteX5" fmla="*/ 23165 w 130139"/>
                <a:gd name="connsiteY5" fmla="*/ 66541 h 312925"/>
                <a:gd name="connsiteX6" fmla="*/ 1389 w 130139"/>
                <a:gd name="connsiteY6" fmla="*/ 32022 h 312925"/>
                <a:gd name="connsiteX7" fmla="*/ 21 w 130139"/>
                <a:gd name="connsiteY7" fmla="*/ 10549 h 312925"/>
                <a:gd name="connsiteX8" fmla="*/ 9280 w 130139"/>
                <a:gd name="connsiteY8" fmla="*/ 21 h 312925"/>
                <a:gd name="connsiteX9" fmla="*/ 19808 w 130139"/>
                <a:gd name="connsiteY9" fmla="*/ 9280 h 312925"/>
                <a:gd name="connsiteX10" fmla="*/ 21176 w 130139"/>
                <a:gd name="connsiteY10" fmla="*/ 30753 h 312925"/>
                <a:gd name="connsiteX11" fmla="*/ 32260 w 130139"/>
                <a:gd name="connsiteY11" fmla="*/ 48894 h 312925"/>
                <a:gd name="connsiteX12" fmla="*/ 81583 w 130139"/>
                <a:gd name="connsiteY12" fmla="*/ 67671 h 312925"/>
                <a:gd name="connsiteX13" fmla="*/ 116822 w 130139"/>
                <a:gd name="connsiteY13" fmla="*/ 95336 h 312925"/>
                <a:gd name="connsiteX14" fmla="*/ 130139 w 130139"/>
                <a:gd name="connsiteY14" fmla="*/ 138116 h 312925"/>
                <a:gd name="connsiteX15" fmla="*/ 130139 w 130139"/>
                <a:gd name="connsiteY15" fmla="*/ 303012 h 312925"/>
                <a:gd name="connsiteX16" fmla="*/ 120226 w 130139"/>
                <a:gd name="connsiteY16" fmla="*/ 312925 h 3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139" h="312925">
                  <a:moveTo>
                    <a:pt x="120226" y="312925"/>
                  </a:moveTo>
                  <a:cubicBezTo>
                    <a:pt x="114753" y="312925"/>
                    <a:pt x="110312" y="308484"/>
                    <a:pt x="110312" y="303012"/>
                  </a:cubicBezTo>
                  <a:lnTo>
                    <a:pt x="110312" y="138116"/>
                  </a:lnTo>
                  <a:cubicBezTo>
                    <a:pt x="110312" y="115216"/>
                    <a:pt x="95931" y="94351"/>
                    <a:pt x="74524" y="86202"/>
                  </a:cubicBezTo>
                  <a:lnTo>
                    <a:pt x="24467" y="67149"/>
                  </a:lnTo>
                  <a:cubicBezTo>
                    <a:pt x="24018" y="66977"/>
                    <a:pt x="23582" y="66772"/>
                    <a:pt x="23165" y="66541"/>
                  </a:cubicBezTo>
                  <a:cubicBezTo>
                    <a:pt x="10456" y="59449"/>
                    <a:pt x="2321" y="46542"/>
                    <a:pt x="1389" y="32022"/>
                  </a:cubicBezTo>
                  <a:lnTo>
                    <a:pt x="21" y="10549"/>
                  </a:lnTo>
                  <a:cubicBezTo>
                    <a:pt x="-330" y="5083"/>
                    <a:pt x="3821" y="371"/>
                    <a:pt x="9280" y="21"/>
                  </a:cubicBezTo>
                  <a:cubicBezTo>
                    <a:pt x="14746" y="-330"/>
                    <a:pt x="19458" y="3821"/>
                    <a:pt x="19808" y="9280"/>
                  </a:cubicBezTo>
                  <a:lnTo>
                    <a:pt x="21176" y="30753"/>
                  </a:lnTo>
                  <a:cubicBezTo>
                    <a:pt x="21659" y="38307"/>
                    <a:pt x="25783" y="45035"/>
                    <a:pt x="32260" y="48894"/>
                  </a:cubicBezTo>
                  <a:lnTo>
                    <a:pt x="81583" y="67671"/>
                  </a:lnTo>
                  <a:cubicBezTo>
                    <a:pt x="95924" y="73130"/>
                    <a:pt x="108111" y="82700"/>
                    <a:pt x="116822" y="95336"/>
                  </a:cubicBezTo>
                  <a:cubicBezTo>
                    <a:pt x="125533" y="107973"/>
                    <a:pt x="130139" y="122764"/>
                    <a:pt x="130139" y="138116"/>
                  </a:cubicBezTo>
                  <a:lnTo>
                    <a:pt x="130139" y="303012"/>
                  </a:lnTo>
                  <a:cubicBezTo>
                    <a:pt x="130139" y="308484"/>
                    <a:pt x="125698" y="312925"/>
                    <a:pt x="120226" y="3129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584">
              <a:extLst>
                <a:ext uri="{FF2B5EF4-FFF2-40B4-BE49-F238E27FC236}">
                  <a16:creationId xmlns:a16="http://schemas.microsoft.com/office/drawing/2014/main" id="{C3303B68-FB89-132A-BA19-6F4199A02BC0}"/>
                </a:ext>
              </a:extLst>
            </p:cNvPr>
            <p:cNvSpPr/>
            <p:nvPr/>
          </p:nvSpPr>
          <p:spPr>
            <a:xfrm>
              <a:off x="1997129" y="4608648"/>
              <a:ext cx="141094" cy="80329"/>
            </a:xfrm>
            <a:custGeom>
              <a:avLst/>
              <a:gdLst>
                <a:gd name="connsiteX0" fmla="*/ 70675 w 141094"/>
                <a:gd name="connsiteY0" fmla="*/ 80323 h 80329"/>
                <a:gd name="connsiteX1" fmla="*/ 63761 w 141094"/>
                <a:gd name="connsiteY1" fmla="*/ 77514 h 80329"/>
                <a:gd name="connsiteX2" fmla="*/ 2998 w 141094"/>
                <a:gd name="connsiteY2" fmla="*/ 18350 h 80329"/>
                <a:gd name="connsiteX3" fmla="*/ 2813 w 141094"/>
                <a:gd name="connsiteY3" fmla="*/ 4332 h 80329"/>
                <a:gd name="connsiteX4" fmla="*/ 16831 w 141094"/>
                <a:gd name="connsiteY4" fmla="*/ 4147 h 80329"/>
                <a:gd name="connsiteX5" fmla="*/ 70589 w 141094"/>
                <a:gd name="connsiteY5" fmla="*/ 56491 h 80329"/>
                <a:gd name="connsiteX6" fmla="*/ 124175 w 141094"/>
                <a:gd name="connsiteY6" fmla="*/ 2905 h 80329"/>
                <a:gd name="connsiteX7" fmla="*/ 138192 w 141094"/>
                <a:gd name="connsiteY7" fmla="*/ 2905 h 80329"/>
                <a:gd name="connsiteX8" fmla="*/ 138192 w 141094"/>
                <a:gd name="connsiteY8" fmla="*/ 16922 h 80329"/>
                <a:gd name="connsiteX9" fmla="*/ 77687 w 141094"/>
                <a:gd name="connsiteY9" fmla="*/ 77428 h 80329"/>
                <a:gd name="connsiteX10" fmla="*/ 70675 w 141094"/>
                <a:gd name="connsiteY10" fmla="*/ 80329 h 8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094" h="80329">
                  <a:moveTo>
                    <a:pt x="70675" y="80323"/>
                  </a:moveTo>
                  <a:cubicBezTo>
                    <a:pt x="68183" y="80323"/>
                    <a:pt x="65685" y="79384"/>
                    <a:pt x="63761" y="77514"/>
                  </a:cubicBezTo>
                  <a:lnTo>
                    <a:pt x="2998" y="18350"/>
                  </a:lnTo>
                  <a:cubicBezTo>
                    <a:pt x="-928" y="14530"/>
                    <a:pt x="-1007" y="8251"/>
                    <a:pt x="2813" y="4332"/>
                  </a:cubicBezTo>
                  <a:cubicBezTo>
                    <a:pt x="6633" y="413"/>
                    <a:pt x="12905" y="327"/>
                    <a:pt x="16831" y="4147"/>
                  </a:cubicBezTo>
                  <a:lnTo>
                    <a:pt x="70589" y="56491"/>
                  </a:lnTo>
                  <a:lnTo>
                    <a:pt x="124175" y="2905"/>
                  </a:lnTo>
                  <a:cubicBezTo>
                    <a:pt x="128048" y="-968"/>
                    <a:pt x="134326" y="-968"/>
                    <a:pt x="138192" y="2905"/>
                  </a:cubicBezTo>
                  <a:cubicBezTo>
                    <a:pt x="142059" y="6778"/>
                    <a:pt x="142065" y="13056"/>
                    <a:pt x="138192" y="16922"/>
                  </a:cubicBezTo>
                  <a:lnTo>
                    <a:pt x="77687" y="77428"/>
                  </a:lnTo>
                  <a:cubicBezTo>
                    <a:pt x="75750" y="79365"/>
                    <a:pt x="73212" y="80329"/>
                    <a:pt x="70675" y="80329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585">
              <a:extLst>
                <a:ext uri="{FF2B5EF4-FFF2-40B4-BE49-F238E27FC236}">
                  <a16:creationId xmlns:a16="http://schemas.microsoft.com/office/drawing/2014/main" id="{C1645F82-1127-008A-6407-5FE3B0C8FB93}"/>
                </a:ext>
              </a:extLst>
            </p:cNvPr>
            <p:cNvSpPr/>
            <p:nvPr/>
          </p:nvSpPr>
          <p:spPr>
            <a:xfrm>
              <a:off x="2057890" y="4669150"/>
              <a:ext cx="19827" cy="210134"/>
            </a:xfrm>
            <a:custGeom>
              <a:avLst/>
              <a:gdLst>
                <a:gd name="connsiteX0" fmla="*/ 9914 w 19827"/>
                <a:gd name="connsiteY0" fmla="*/ 210134 h 210134"/>
                <a:gd name="connsiteX1" fmla="*/ 0 w 19827"/>
                <a:gd name="connsiteY1" fmla="*/ 200221 h 210134"/>
                <a:gd name="connsiteX2" fmla="*/ 0 w 19827"/>
                <a:gd name="connsiteY2" fmla="*/ 9914 h 210134"/>
                <a:gd name="connsiteX3" fmla="*/ 9914 w 19827"/>
                <a:gd name="connsiteY3" fmla="*/ 0 h 210134"/>
                <a:gd name="connsiteX4" fmla="*/ 19827 w 19827"/>
                <a:gd name="connsiteY4" fmla="*/ 9914 h 210134"/>
                <a:gd name="connsiteX5" fmla="*/ 19827 w 19827"/>
                <a:gd name="connsiteY5" fmla="*/ 200221 h 210134"/>
                <a:gd name="connsiteX6" fmla="*/ 9914 w 19827"/>
                <a:gd name="connsiteY6" fmla="*/ 210134 h 21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27" h="210134">
                  <a:moveTo>
                    <a:pt x="9914" y="210134"/>
                  </a:moveTo>
                  <a:cubicBezTo>
                    <a:pt x="4441" y="210134"/>
                    <a:pt x="0" y="205693"/>
                    <a:pt x="0" y="200221"/>
                  </a:cubicBezTo>
                  <a:lnTo>
                    <a:pt x="0" y="9914"/>
                  </a:lnTo>
                  <a:cubicBezTo>
                    <a:pt x="0" y="4441"/>
                    <a:pt x="4441" y="0"/>
                    <a:pt x="9914" y="0"/>
                  </a:cubicBezTo>
                  <a:cubicBezTo>
                    <a:pt x="15386" y="0"/>
                    <a:pt x="19827" y="4441"/>
                    <a:pt x="19827" y="9914"/>
                  </a:cubicBezTo>
                  <a:lnTo>
                    <a:pt x="19827" y="200221"/>
                  </a:lnTo>
                  <a:cubicBezTo>
                    <a:pt x="19827" y="205693"/>
                    <a:pt x="15386" y="210134"/>
                    <a:pt x="9914" y="210134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586">
              <a:extLst>
                <a:ext uri="{FF2B5EF4-FFF2-40B4-BE49-F238E27FC236}">
                  <a16:creationId xmlns:a16="http://schemas.microsoft.com/office/drawing/2014/main" id="{7C022BDE-473B-46D0-BF78-F922690BCA0E}"/>
                </a:ext>
              </a:extLst>
            </p:cNvPr>
            <p:cNvSpPr/>
            <p:nvPr/>
          </p:nvSpPr>
          <p:spPr>
            <a:xfrm>
              <a:off x="1954658" y="4348889"/>
              <a:ext cx="217496" cy="153170"/>
            </a:xfrm>
            <a:custGeom>
              <a:avLst/>
              <a:gdLst>
                <a:gd name="connsiteX0" fmla="*/ 13706 w 217496"/>
                <a:gd name="connsiteY0" fmla="*/ 153171 h 153170"/>
                <a:gd name="connsiteX1" fmla="*/ 9787 w 217496"/>
                <a:gd name="connsiteY1" fmla="*/ 152365 h 153170"/>
                <a:gd name="connsiteX2" fmla="*/ 4084 w 217496"/>
                <a:gd name="connsiteY2" fmla="*/ 145650 h 153170"/>
                <a:gd name="connsiteX3" fmla="*/ 21538 w 217496"/>
                <a:gd name="connsiteY3" fmla="*/ 36376 h 153170"/>
                <a:gd name="connsiteX4" fmla="*/ 111084 w 217496"/>
                <a:gd name="connsiteY4" fmla="*/ 0 h 153170"/>
                <a:gd name="connsiteX5" fmla="*/ 197966 w 217496"/>
                <a:gd name="connsiteY5" fmla="*/ 33389 h 153170"/>
                <a:gd name="connsiteX6" fmla="*/ 215877 w 217496"/>
                <a:gd name="connsiteY6" fmla="*/ 112631 h 153170"/>
                <a:gd name="connsiteX7" fmla="*/ 209942 w 217496"/>
                <a:gd name="connsiteY7" fmla="*/ 119815 h 153170"/>
                <a:gd name="connsiteX8" fmla="*/ 161200 w 217496"/>
                <a:gd name="connsiteY8" fmla="*/ 127786 h 153170"/>
                <a:gd name="connsiteX9" fmla="*/ 58410 w 217496"/>
                <a:gd name="connsiteY9" fmla="*/ 85891 h 153170"/>
                <a:gd name="connsiteX10" fmla="*/ 57723 w 217496"/>
                <a:gd name="connsiteY10" fmla="*/ 71886 h 153170"/>
                <a:gd name="connsiteX11" fmla="*/ 71727 w 217496"/>
                <a:gd name="connsiteY11" fmla="*/ 71199 h 153170"/>
                <a:gd name="connsiteX12" fmla="*/ 160546 w 217496"/>
                <a:gd name="connsiteY12" fmla="*/ 107952 h 153170"/>
                <a:gd name="connsiteX13" fmla="*/ 197180 w 217496"/>
                <a:gd name="connsiteY13" fmla="*/ 103213 h 153170"/>
                <a:gd name="connsiteX14" fmla="*/ 182528 w 217496"/>
                <a:gd name="connsiteY14" fmla="*/ 45820 h 153170"/>
                <a:gd name="connsiteX15" fmla="*/ 111091 w 217496"/>
                <a:gd name="connsiteY15" fmla="*/ 19827 h 153170"/>
                <a:gd name="connsiteX16" fmla="*/ 37215 w 217496"/>
                <a:gd name="connsiteY16" fmla="*/ 48523 h 153170"/>
                <a:gd name="connsiteX17" fmla="*/ 21109 w 217496"/>
                <a:gd name="connsiteY17" fmla="*/ 127686 h 153170"/>
                <a:gd name="connsiteX18" fmla="*/ 46130 w 217496"/>
                <a:gd name="connsiteY18" fmla="*/ 113537 h 153170"/>
                <a:gd name="connsiteX19" fmla="*/ 59639 w 217496"/>
                <a:gd name="connsiteY19" fmla="*/ 117290 h 153170"/>
                <a:gd name="connsiteX20" fmla="*/ 55885 w 217496"/>
                <a:gd name="connsiteY20" fmla="*/ 130799 h 153170"/>
                <a:gd name="connsiteX21" fmla="*/ 18577 w 217496"/>
                <a:gd name="connsiteY21" fmla="*/ 151889 h 153170"/>
                <a:gd name="connsiteX22" fmla="*/ 13700 w 217496"/>
                <a:gd name="connsiteY22" fmla="*/ 153171 h 15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7496" h="153170">
                  <a:moveTo>
                    <a:pt x="13706" y="153171"/>
                  </a:moveTo>
                  <a:cubicBezTo>
                    <a:pt x="12378" y="153171"/>
                    <a:pt x="11043" y="152900"/>
                    <a:pt x="9787" y="152365"/>
                  </a:cubicBezTo>
                  <a:cubicBezTo>
                    <a:pt x="6939" y="151142"/>
                    <a:pt x="4831" y="148657"/>
                    <a:pt x="4084" y="145650"/>
                  </a:cubicBezTo>
                  <a:cubicBezTo>
                    <a:pt x="3416" y="142953"/>
                    <a:pt x="-11923" y="79170"/>
                    <a:pt x="21538" y="36376"/>
                  </a:cubicBezTo>
                  <a:cubicBezTo>
                    <a:pt x="40414" y="12233"/>
                    <a:pt x="70544" y="0"/>
                    <a:pt x="111084" y="0"/>
                  </a:cubicBezTo>
                  <a:cubicBezTo>
                    <a:pt x="151624" y="0"/>
                    <a:pt x="179864" y="11235"/>
                    <a:pt x="197966" y="33389"/>
                  </a:cubicBezTo>
                  <a:cubicBezTo>
                    <a:pt x="224905" y="66361"/>
                    <a:pt x="216260" y="110754"/>
                    <a:pt x="215877" y="112631"/>
                  </a:cubicBezTo>
                  <a:cubicBezTo>
                    <a:pt x="215216" y="115863"/>
                    <a:pt x="212995" y="118559"/>
                    <a:pt x="209942" y="119815"/>
                  </a:cubicBezTo>
                  <a:cubicBezTo>
                    <a:pt x="209122" y="120152"/>
                    <a:pt x="189593" y="128070"/>
                    <a:pt x="161200" y="127786"/>
                  </a:cubicBezTo>
                  <a:cubicBezTo>
                    <a:pt x="135108" y="127521"/>
                    <a:pt x="96101" y="120046"/>
                    <a:pt x="58410" y="85891"/>
                  </a:cubicBezTo>
                  <a:cubicBezTo>
                    <a:pt x="54352" y="82216"/>
                    <a:pt x="54048" y="75944"/>
                    <a:pt x="57723" y="71886"/>
                  </a:cubicBezTo>
                  <a:cubicBezTo>
                    <a:pt x="61397" y="67828"/>
                    <a:pt x="67669" y="67524"/>
                    <a:pt x="71727" y="71199"/>
                  </a:cubicBezTo>
                  <a:cubicBezTo>
                    <a:pt x="98038" y="95044"/>
                    <a:pt x="127917" y="107403"/>
                    <a:pt x="160546" y="107952"/>
                  </a:cubicBezTo>
                  <a:cubicBezTo>
                    <a:pt x="177128" y="108229"/>
                    <a:pt x="190300" y="105222"/>
                    <a:pt x="197180" y="103213"/>
                  </a:cubicBezTo>
                  <a:cubicBezTo>
                    <a:pt x="198270" y="91938"/>
                    <a:pt x="198706" y="65522"/>
                    <a:pt x="182528" y="45820"/>
                  </a:cubicBezTo>
                  <a:cubicBezTo>
                    <a:pt x="168364" y="28571"/>
                    <a:pt x="144327" y="19827"/>
                    <a:pt x="111091" y="19827"/>
                  </a:cubicBezTo>
                  <a:cubicBezTo>
                    <a:pt x="77854" y="19827"/>
                    <a:pt x="52145" y="29483"/>
                    <a:pt x="37215" y="48523"/>
                  </a:cubicBezTo>
                  <a:cubicBezTo>
                    <a:pt x="17824" y="73254"/>
                    <a:pt x="18795" y="108699"/>
                    <a:pt x="21109" y="127686"/>
                  </a:cubicBezTo>
                  <a:lnTo>
                    <a:pt x="46130" y="113537"/>
                  </a:lnTo>
                  <a:cubicBezTo>
                    <a:pt x="50895" y="110840"/>
                    <a:pt x="56943" y="112519"/>
                    <a:pt x="59639" y="117290"/>
                  </a:cubicBezTo>
                  <a:cubicBezTo>
                    <a:pt x="62336" y="122056"/>
                    <a:pt x="60657" y="128103"/>
                    <a:pt x="55885" y="130799"/>
                  </a:cubicBezTo>
                  <a:lnTo>
                    <a:pt x="18577" y="151889"/>
                  </a:lnTo>
                  <a:cubicBezTo>
                    <a:pt x="17070" y="152741"/>
                    <a:pt x="15385" y="153171"/>
                    <a:pt x="13700" y="1531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587">
              <a:extLst>
                <a:ext uri="{FF2B5EF4-FFF2-40B4-BE49-F238E27FC236}">
                  <a16:creationId xmlns:a16="http://schemas.microsoft.com/office/drawing/2014/main" id="{A4CFC47C-AC45-08DC-689B-466916D79CD4}"/>
                </a:ext>
              </a:extLst>
            </p:cNvPr>
            <p:cNvSpPr/>
            <p:nvPr/>
          </p:nvSpPr>
          <p:spPr>
            <a:xfrm>
              <a:off x="1966050" y="4453681"/>
              <a:ext cx="203083" cy="146708"/>
            </a:xfrm>
            <a:custGeom>
              <a:avLst/>
              <a:gdLst>
                <a:gd name="connsiteX0" fmla="*/ 98535 w 203083"/>
                <a:gd name="connsiteY0" fmla="*/ 146709 h 146708"/>
                <a:gd name="connsiteX1" fmla="*/ 46562 w 203083"/>
                <a:gd name="connsiteY1" fmla="*/ 130530 h 146708"/>
                <a:gd name="connsiteX2" fmla="*/ 9637 w 203083"/>
                <a:gd name="connsiteY2" fmla="*/ 88668 h 146708"/>
                <a:gd name="connsiteX3" fmla="*/ 728 w 203083"/>
                <a:gd name="connsiteY3" fmla="*/ 45260 h 146708"/>
                <a:gd name="connsiteX4" fmla="*/ 34 w 203083"/>
                <a:gd name="connsiteY4" fmla="*/ 34970 h 146708"/>
                <a:gd name="connsiteX5" fmla="*/ 9095 w 203083"/>
                <a:gd name="connsiteY5" fmla="*/ 24270 h 146708"/>
                <a:gd name="connsiteX6" fmla="*/ 19795 w 203083"/>
                <a:gd name="connsiteY6" fmla="*/ 33331 h 146708"/>
                <a:gd name="connsiteX7" fmla="*/ 20522 w 203083"/>
                <a:gd name="connsiteY7" fmla="*/ 44077 h 146708"/>
                <a:gd name="connsiteX8" fmla="*/ 27164 w 203083"/>
                <a:gd name="connsiteY8" fmla="*/ 79402 h 146708"/>
                <a:gd name="connsiteX9" fmla="*/ 98528 w 203083"/>
                <a:gd name="connsiteY9" fmla="*/ 126882 h 146708"/>
                <a:gd name="connsiteX10" fmla="*/ 183256 w 203083"/>
                <a:gd name="connsiteY10" fmla="*/ 23979 h 146708"/>
                <a:gd name="connsiteX11" fmla="*/ 182582 w 203083"/>
                <a:gd name="connsiteY11" fmla="*/ 10946 h 146708"/>
                <a:gd name="connsiteX12" fmla="*/ 191412 w 203083"/>
                <a:gd name="connsiteY12" fmla="*/ 54 h 146708"/>
                <a:gd name="connsiteX13" fmla="*/ 202303 w 203083"/>
                <a:gd name="connsiteY13" fmla="*/ 8884 h 146708"/>
                <a:gd name="connsiteX14" fmla="*/ 203083 w 203083"/>
                <a:gd name="connsiteY14" fmla="*/ 23979 h 146708"/>
                <a:gd name="connsiteX15" fmla="*/ 173045 w 203083"/>
                <a:gd name="connsiteY15" fmla="*/ 110121 h 146708"/>
                <a:gd name="connsiteX16" fmla="*/ 98528 w 203083"/>
                <a:gd name="connsiteY16" fmla="*/ 146709 h 14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083" h="146708">
                  <a:moveTo>
                    <a:pt x="98535" y="146709"/>
                  </a:moveTo>
                  <a:cubicBezTo>
                    <a:pt x="80274" y="146709"/>
                    <a:pt x="62304" y="141111"/>
                    <a:pt x="46562" y="130530"/>
                  </a:cubicBezTo>
                  <a:cubicBezTo>
                    <a:pt x="31539" y="120425"/>
                    <a:pt x="18771" y="105951"/>
                    <a:pt x="9637" y="88668"/>
                  </a:cubicBezTo>
                  <a:cubicBezTo>
                    <a:pt x="2526" y="75206"/>
                    <a:pt x="1614" y="59985"/>
                    <a:pt x="728" y="45260"/>
                  </a:cubicBezTo>
                  <a:cubicBezTo>
                    <a:pt x="523" y="41876"/>
                    <a:pt x="318" y="38374"/>
                    <a:pt x="34" y="34970"/>
                  </a:cubicBezTo>
                  <a:cubicBezTo>
                    <a:pt x="-415" y="29511"/>
                    <a:pt x="3636" y="24726"/>
                    <a:pt x="9095" y="24270"/>
                  </a:cubicBezTo>
                  <a:cubicBezTo>
                    <a:pt x="14547" y="23820"/>
                    <a:pt x="19339" y="27872"/>
                    <a:pt x="19795" y="33331"/>
                  </a:cubicBezTo>
                  <a:cubicBezTo>
                    <a:pt x="20099" y="36966"/>
                    <a:pt x="20311" y="40581"/>
                    <a:pt x="20522" y="44077"/>
                  </a:cubicBezTo>
                  <a:cubicBezTo>
                    <a:pt x="21309" y="57275"/>
                    <a:pt x="22055" y="69740"/>
                    <a:pt x="27164" y="79402"/>
                  </a:cubicBezTo>
                  <a:cubicBezTo>
                    <a:pt x="42880" y="109130"/>
                    <a:pt x="69554" y="126882"/>
                    <a:pt x="98528" y="126882"/>
                  </a:cubicBezTo>
                  <a:cubicBezTo>
                    <a:pt x="145248" y="126882"/>
                    <a:pt x="183256" y="80718"/>
                    <a:pt x="183256" y="23979"/>
                  </a:cubicBezTo>
                  <a:cubicBezTo>
                    <a:pt x="183256" y="19617"/>
                    <a:pt x="183031" y="15235"/>
                    <a:pt x="182582" y="10946"/>
                  </a:cubicBezTo>
                  <a:cubicBezTo>
                    <a:pt x="182014" y="5500"/>
                    <a:pt x="185966" y="623"/>
                    <a:pt x="191412" y="54"/>
                  </a:cubicBezTo>
                  <a:cubicBezTo>
                    <a:pt x="196851" y="-514"/>
                    <a:pt x="201735" y="3438"/>
                    <a:pt x="202303" y="8884"/>
                  </a:cubicBezTo>
                  <a:cubicBezTo>
                    <a:pt x="202826" y="13854"/>
                    <a:pt x="203083" y="18936"/>
                    <a:pt x="203083" y="23979"/>
                  </a:cubicBezTo>
                  <a:cubicBezTo>
                    <a:pt x="203083" y="56443"/>
                    <a:pt x="192416" y="87036"/>
                    <a:pt x="173045" y="110121"/>
                  </a:cubicBezTo>
                  <a:cubicBezTo>
                    <a:pt x="153251" y="133715"/>
                    <a:pt x="126789" y="146709"/>
                    <a:pt x="98528" y="146709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8EEC249B-EE57-1E6B-C83C-2ED95504057E}"/>
              </a:ext>
            </a:extLst>
          </p:cNvPr>
          <p:cNvGrpSpPr>
            <a:grpSpLocks noChangeAspect="1"/>
          </p:cNvGrpSpPr>
          <p:nvPr/>
        </p:nvGrpSpPr>
        <p:grpSpPr>
          <a:xfrm>
            <a:off x="164248" y="1831610"/>
            <a:ext cx="703401" cy="1197284"/>
            <a:chOff x="1877550" y="3145778"/>
            <a:chExt cx="341561" cy="581383"/>
          </a:xfrm>
        </p:grpSpPr>
        <p:sp>
          <p:nvSpPr>
            <p:cNvPr id="51" name="Freihandform: Form 452">
              <a:extLst>
                <a:ext uri="{FF2B5EF4-FFF2-40B4-BE49-F238E27FC236}">
                  <a16:creationId xmlns:a16="http://schemas.microsoft.com/office/drawing/2014/main" id="{3A069F8B-9A11-2527-C6FD-0DBEA52E759A}"/>
                </a:ext>
              </a:extLst>
            </p:cNvPr>
            <p:cNvSpPr/>
            <p:nvPr/>
          </p:nvSpPr>
          <p:spPr>
            <a:xfrm>
              <a:off x="1886745" y="3518688"/>
              <a:ext cx="71328" cy="208473"/>
            </a:xfrm>
            <a:custGeom>
              <a:avLst/>
              <a:gdLst>
                <a:gd name="connsiteX0" fmla="*/ 60054 w 71328"/>
                <a:gd name="connsiteY0" fmla="*/ 208467 h 208473"/>
                <a:gd name="connsiteX1" fmla="*/ 59922 w 71328"/>
                <a:gd name="connsiteY1" fmla="*/ 208467 h 208473"/>
                <a:gd name="connsiteX2" fmla="*/ 50134 w 71328"/>
                <a:gd name="connsiteY2" fmla="*/ 198428 h 208473"/>
                <a:gd name="connsiteX3" fmla="*/ 51489 w 71328"/>
                <a:gd name="connsiteY3" fmla="*/ 93119 h 208473"/>
                <a:gd name="connsiteX4" fmla="*/ 36302 w 71328"/>
                <a:gd name="connsiteY4" fmla="*/ 54298 h 208473"/>
                <a:gd name="connsiteX5" fmla="*/ 36116 w 71328"/>
                <a:gd name="connsiteY5" fmla="*/ 54093 h 208473"/>
                <a:gd name="connsiteX6" fmla="*/ 2523 w 71328"/>
                <a:gd name="connsiteY6" fmla="*/ 16521 h 208473"/>
                <a:gd name="connsiteX7" fmla="*/ 3303 w 71328"/>
                <a:gd name="connsiteY7" fmla="*/ 2523 h 208473"/>
                <a:gd name="connsiteX8" fmla="*/ 17301 w 71328"/>
                <a:gd name="connsiteY8" fmla="*/ 3303 h 208473"/>
                <a:gd name="connsiteX9" fmla="*/ 50808 w 71328"/>
                <a:gd name="connsiteY9" fmla="*/ 40776 h 208473"/>
                <a:gd name="connsiteX10" fmla="*/ 71323 w 71328"/>
                <a:gd name="connsiteY10" fmla="*/ 93364 h 208473"/>
                <a:gd name="connsiteX11" fmla="*/ 69968 w 71328"/>
                <a:gd name="connsiteY11" fmla="*/ 198685 h 208473"/>
                <a:gd name="connsiteX12" fmla="*/ 60061 w 71328"/>
                <a:gd name="connsiteY12" fmla="*/ 208473 h 208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328" h="208473">
                  <a:moveTo>
                    <a:pt x="60054" y="208467"/>
                  </a:moveTo>
                  <a:cubicBezTo>
                    <a:pt x="60008" y="208467"/>
                    <a:pt x="59968" y="208467"/>
                    <a:pt x="59922" y="208467"/>
                  </a:cubicBezTo>
                  <a:cubicBezTo>
                    <a:pt x="54450" y="208394"/>
                    <a:pt x="50068" y="203900"/>
                    <a:pt x="50134" y="198428"/>
                  </a:cubicBezTo>
                  <a:lnTo>
                    <a:pt x="51489" y="93119"/>
                  </a:lnTo>
                  <a:cubicBezTo>
                    <a:pt x="51661" y="78626"/>
                    <a:pt x="46268" y="64839"/>
                    <a:pt x="36302" y="54298"/>
                  </a:cubicBezTo>
                  <a:cubicBezTo>
                    <a:pt x="36235" y="54232"/>
                    <a:pt x="36176" y="54159"/>
                    <a:pt x="36116" y="54093"/>
                  </a:cubicBezTo>
                  <a:lnTo>
                    <a:pt x="2523" y="16521"/>
                  </a:lnTo>
                  <a:cubicBezTo>
                    <a:pt x="-1125" y="12436"/>
                    <a:pt x="-775" y="6171"/>
                    <a:pt x="3303" y="2523"/>
                  </a:cubicBezTo>
                  <a:cubicBezTo>
                    <a:pt x="7387" y="-1125"/>
                    <a:pt x="13652" y="-775"/>
                    <a:pt x="17301" y="3303"/>
                  </a:cubicBezTo>
                  <a:lnTo>
                    <a:pt x="50808" y="40776"/>
                  </a:lnTo>
                  <a:cubicBezTo>
                    <a:pt x="64271" y="55058"/>
                    <a:pt x="71554" y="73728"/>
                    <a:pt x="71323" y="93364"/>
                  </a:cubicBezTo>
                  <a:lnTo>
                    <a:pt x="69968" y="198685"/>
                  </a:lnTo>
                  <a:cubicBezTo>
                    <a:pt x="69895" y="204118"/>
                    <a:pt x="65474" y="208473"/>
                    <a:pt x="60061" y="208473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453">
              <a:extLst>
                <a:ext uri="{FF2B5EF4-FFF2-40B4-BE49-F238E27FC236}">
                  <a16:creationId xmlns:a16="http://schemas.microsoft.com/office/drawing/2014/main" id="{1B7E6B18-8805-D6F8-8A1C-E25122D4B0C6}"/>
                </a:ext>
              </a:extLst>
            </p:cNvPr>
            <p:cNvSpPr/>
            <p:nvPr/>
          </p:nvSpPr>
          <p:spPr>
            <a:xfrm>
              <a:off x="1877550" y="3414230"/>
              <a:ext cx="130139" cy="312925"/>
            </a:xfrm>
            <a:custGeom>
              <a:avLst/>
              <a:gdLst>
                <a:gd name="connsiteX0" fmla="*/ 9914 w 130139"/>
                <a:gd name="connsiteY0" fmla="*/ 312925 h 312925"/>
                <a:gd name="connsiteX1" fmla="*/ 0 w 130139"/>
                <a:gd name="connsiteY1" fmla="*/ 303012 h 312925"/>
                <a:gd name="connsiteX2" fmla="*/ 0 w 130139"/>
                <a:gd name="connsiteY2" fmla="*/ 138116 h 312925"/>
                <a:gd name="connsiteX3" fmla="*/ 13317 w 130139"/>
                <a:gd name="connsiteY3" fmla="*/ 95336 h 312925"/>
                <a:gd name="connsiteX4" fmla="*/ 48557 w 130139"/>
                <a:gd name="connsiteY4" fmla="*/ 67671 h 312925"/>
                <a:gd name="connsiteX5" fmla="*/ 97880 w 130139"/>
                <a:gd name="connsiteY5" fmla="*/ 48894 h 312925"/>
                <a:gd name="connsiteX6" fmla="*/ 108963 w 130139"/>
                <a:gd name="connsiteY6" fmla="*/ 30753 h 312925"/>
                <a:gd name="connsiteX7" fmla="*/ 110331 w 130139"/>
                <a:gd name="connsiteY7" fmla="*/ 9280 h 312925"/>
                <a:gd name="connsiteX8" fmla="*/ 120859 w 130139"/>
                <a:gd name="connsiteY8" fmla="*/ 21 h 312925"/>
                <a:gd name="connsiteX9" fmla="*/ 130119 w 130139"/>
                <a:gd name="connsiteY9" fmla="*/ 10549 h 312925"/>
                <a:gd name="connsiteX10" fmla="*/ 128751 w 130139"/>
                <a:gd name="connsiteY10" fmla="*/ 32022 h 312925"/>
                <a:gd name="connsiteX11" fmla="*/ 106974 w 130139"/>
                <a:gd name="connsiteY11" fmla="*/ 66541 h 312925"/>
                <a:gd name="connsiteX12" fmla="*/ 105672 w 130139"/>
                <a:gd name="connsiteY12" fmla="*/ 67149 h 312925"/>
                <a:gd name="connsiteX13" fmla="*/ 55615 w 130139"/>
                <a:gd name="connsiteY13" fmla="*/ 86202 h 312925"/>
                <a:gd name="connsiteX14" fmla="*/ 19827 w 130139"/>
                <a:gd name="connsiteY14" fmla="*/ 138116 h 312925"/>
                <a:gd name="connsiteX15" fmla="*/ 19827 w 130139"/>
                <a:gd name="connsiteY15" fmla="*/ 303012 h 312925"/>
                <a:gd name="connsiteX16" fmla="*/ 9914 w 130139"/>
                <a:gd name="connsiteY16" fmla="*/ 312925 h 3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139" h="312925">
                  <a:moveTo>
                    <a:pt x="9914" y="312925"/>
                  </a:moveTo>
                  <a:cubicBezTo>
                    <a:pt x="4441" y="312925"/>
                    <a:pt x="0" y="308484"/>
                    <a:pt x="0" y="303012"/>
                  </a:cubicBezTo>
                  <a:lnTo>
                    <a:pt x="0" y="138116"/>
                  </a:lnTo>
                  <a:cubicBezTo>
                    <a:pt x="0" y="122770"/>
                    <a:pt x="4606" y="107973"/>
                    <a:pt x="13317" y="95336"/>
                  </a:cubicBezTo>
                  <a:cubicBezTo>
                    <a:pt x="22028" y="82700"/>
                    <a:pt x="34215" y="73130"/>
                    <a:pt x="48557" y="67671"/>
                  </a:cubicBezTo>
                  <a:lnTo>
                    <a:pt x="97880" y="48894"/>
                  </a:lnTo>
                  <a:cubicBezTo>
                    <a:pt x="104350" y="45035"/>
                    <a:pt x="108481" y="38307"/>
                    <a:pt x="108963" y="30753"/>
                  </a:cubicBezTo>
                  <a:lnTo>
                    <a:pt x="110331" y="9280"/>
                  </a:lnTo>
                  <a:cubicBezTo>
                    <a:pt x="110681" y="3814"/>
                    <a:pt x="115394" y="-330"/>
                    <a:pt x="120859" y="21"/>
                  </a:cubicBezTo>
                  <a:cubicBezTo>
                    <a:pt x="126325" y="371"/>
                    <a:pt x="130469" y="5083"/>
                    <a:pt x="130119" y="10549"/>
                  </a:cubicBezTo>
                  <a:lnTo>
                    <a:pt x="128751" y="32022"/>
                  </a:lnTo>
                  <a:cubicBezTo>
                    <a:pt x="127825" y="46542"/>
                    <a:pt x="119683" y="59449"/>
                    <a:pt x="106974" y="66541"/>
                  </a:cubicBezTo>
                  <a:cubicBezTo>
                    <a:pt x="106557" y="66772"/>
                    <a:pt x="106121" y="66977"/>
                    <a:pt x="105672" y="67149"/>
                  </a:cubicBezTo>
                  <a:lnTo>
                    <a:pt x="55615" y="86202"/>
                  </a:lnTo>
                  <a:cubicBezTo>
                    <a:pt x="34208" y="94351"/>
                    <a:pt x="19827" y="115216"/>
                    <a:pt x="19827" y="138116"/>
                  </a:cubicBezTo>
                  <a:lnTo>
                    <a:pt x="19827" y="303012"/>
                  </a:lnTo>
                  <a:cubicBezTo>
                    <a:pt x="19827" y="308484"/>
                    <a:pt x="15386" y="312925"/>
                    <a:pt x="9914" y="31292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454">
              <a:extLst>
                <a:ext uri="{FF2B5EF4-FFF2-40B4-BE49-F238E27FC236}">
                  <a16:creationId xmlns:a16="http://schemas.microsoft.com/office/drawing/2014/main" id="{AF9DFAE3-053F-A24F-6824-1665A8DB5F82}"/>
                </a:ext>
              </a:extLst>
            </p:cNvPr>
            <p:cNvSpPr/>
            <p:nvPr/>
          </p:nvSpPr>
          <p:spPr>
            <a:xfrm>
              <a:off x="2138595" y="3518686"/>
              <a:ext cx="71330" cy="208469"/>
            </a:xfrm>
            <a:custGeom>
              <a:avLst/>
              <a:gdLst>
                <a:gd name="connsiteX0" fmla="*/ 11267 w 71330"/>
                <a:gd name="connsiteY0" fmla="*/ 208469 h 208469"/>
                <a:gd name="connsiteX1" fmla="*/ 1360 w 71330"/>
                <a:gd name="connsiteY1" fmla="*/ 198681 h 208469"/>
                <a:gd name="connsiteX2" fmla="*/ 5 w 71330"/>
                <a:gd name="connsiteY2" fmla="*/ 93373 h 208469"/>
                <a:gd name="connsiteX3" fmla="*/ 20520 w 71330"/>
                <a:gd name="connsiteY3" fmla="*/ 40778 h 208469"/>
                <a:gd name="connsiteX4" fmla="*/ 54028 w 71330"/>
                <a:gd name="connsiteY4" fmla="*/ 3305 h 208469"/>
                <a:gd name="connsiteX5" fmla="*/ 68025 w 71330"/>
                <a:gd name="connsiteY5" fmla="*/ 2525 h 208469"/>
                <a:gd name="connsiteX6" fmla="*/ 68805 w 71330"/>
                <a:gd name="connsiteY6" fmla="*/ 16523 h 208469"/>
                <a:gd name="connsiteX7" fmla="*/ 35212 w 71330"/>
                <a:gd name="connsiteY7" fmla="*/ 54095 h 208469"/>
                <a:gd name="connsiteX8" fmla="*/ 35027 w 71330"/>
                <a:gd name="connsiteY8" fmla="*/ 54300 h 208469"/>
                <a:gd name="connsiteX9" fmla="*/ 19839 w 71330"/>
                <a:gd name="connsiteY9" fmla="*/ 93128 h 208469"/>
                <a:gd name="connsiteX10" fmla="*/ 21194 w 71330"/>
                <a:gd name="connsiteY10" fmla="*/ 198423 h 208469"/>
                <a:gd name="connsiteX11" fmla="*/ 11406 w 71330"/>
                <a:gd name="connsiteY11" fmla="*/ 208462 h 208469"/>
                <a:gd name="connsiteX12" fmla="*/ 11274 w 71330"/>
                <a:gd name="connsiteY12" fmla="*/ 208462 h 20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330" h="208469">
                  <a:moveTo>
                    <a:pt x="11267" y="208469"/>
                  </a:moveTo>
                  <a:cubicBezTo>
                    <a:pt x="5854" y="208469"/>
                    <a:pt x="1426" y="204114"/>
                    <a:pt x="1360" y="198681"/>
                  </a:cubicBezTo>
                  <a:lnTo>
                    <a:pt x="5" y="93373"/>
                  </a:lnTo>
                  <a:cubicBezTo>
                    <a:pt x="-226" y="73731"/>
                    <a:pt x="7057" y="55060"/>
                    <a:pt x="20520" y="40778"/>
                  </a:cubicBezTo>
                  <a:lnTo>
                    <a:pt x="54028" y="3305"/>
                  </a:lnTo>
                  <a:cubicBezTo>
                    <a:pt x="57676" y="-779"/>
                    <a:pt x="63941" y="-1123"/>
                    <a:pt x="68025" y="2525"/>
                  </a:cubicBezTo>
                  <a:cubicBezTo>
                    <a:pt x="72110" y="6173"/>
                    <a:pt x="72454" y="12439"/>
                    <a:pt x="68805" y="16523"/>
                  </a:cubicBezTo>
                  <a:lnTo>
                    <a:pt x="35212" y="54095"/>
                  </a:lnTo>
                  <a:cubicBezTo>
                    <a:pt x="35152" y="54161"/>
                    <a:pt x="35086" y="54234"/>
                    <a:pt x="35027" y="54300"/>
                  </a:cubicBezTo>
                  <a:cubicBezTo>
                    <a:pt x="25060" y="64835"/>
                    <a:pt x="19667" y="78628"/>
                    <a:pt x="19839" y="93128"/>
                  </a:cubicBezTo>
                  <a:lnTo>
                    <a:pt x="21194" y="198423"/>
                  </a:lnTo>
                  <a:cubicBezTo>
                    <a:pt x="21267" y="203896"/>
                    <a:pt x="16885" y="208396"/>
                    <a:pt x="11406" y="208462"/>
                  </a:cubicBezTo>
                  <a:cubicBezTo>
                    <a:pt x="11360" y="208462"/>
                    <a:pt x="11320" y="208462"/>
                    <a:pt x="11274" y="208462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455">
              <a:extLst>
                <a:ext uri="{FF2B5EF4-FFF2-40B4-BE49-F238E27FC236}">
                  <a16:creationId xmlns:a16="http://schemas.microsoft.com/office/drawing/2014/main" id="{D1E13D3A-D13F-49B8-1251-A20A3EA1FC97}"/>
                </a:ext>
              </a:extLst>
            </p:cNvPr>
            <p:cNvSpPr/>
            <p:nvPr/>
          </p:nvSpPr>
          <p:spPr>
            <a:xfrm>
              <a:off x="2088972" y="3414230"/>
              <a:ext cx="130139" cy="312925"/>
            </a:xfrm>
            <a:custGeom>
              <a:avLst/>
              <a:gdLst>
                <a:gd name="connsiteX0" fmla="*/ 120226 w 130139"/>
                <a:gd name="connsiteY0" fmla="*/ 312925 h 312925"/>
                <a:gd name="connsiteX1" fmla="*/ 110312 w 130139"/>
                <a:gd name="connsiteY1" fmla="*/ 303012 h 312925"/>
                <a:gd name="connsiteX2" fmla="*/ 110312 w 130139"/>
                <a:gd name="connsiteY2" fmla="*/ 138116 h 312925"/>
                <a:gd name="connsiteX3" fmla="*/ 74524 w 130139"/>
                <a:gd name="connsiteY3" fmla="*/ 86202 h 312925"/>
                <a:gd name="connsiteX4" fmla="*/ 24467 w 130139"/>
                <a:gd name="connsiteY4" fmla="*/ 67149 h 312925"/>
                <a:gd name="connsiteX5" fmla="*/ 23165 w 130139"/>
                <a:gd name="connsiteY5" fmla="*/ 66541 h 312925"/>
                <a:gd name="connsiteX6" fmla="*/ 1389 w 130139"/>
                <a:gd name="connsiteY6" fmla="*/ 32022 h 312925"/>
                <a:gd name="connsiteX7" fmla="*/ 21 w 130139"/>
                <a:gd name="connsiteY7" fmla="*/ 10549 h 312925"/>
                <a:gd name="connsiteX8" fmla="*/ 9280 w 130139"/>
                <a:gd name="connsiteY8" fmla="*/ 21 h 312925"/>
                <a:gd name="connsiteX9" fmla="*/ 19808 w 130139"/>
                <a:gd name="connsiteY9" fmla="*/ 9280 h 312925"/>
                <a:gd name="connsiteX10" fmla="*/ 21176 w 130139"/>
                <a:gd name="connsiteY10" fmla="*/ 30753 h 312925"/>
                <a:gd name="connsiteX11" fmla="*/ 32259 w 130139"/>
                <a:gd name="connsiteY11" fmla="*/ 48894 h 312925"/>
                <a:gd name="connsiteX12" fmla="*/ 81583 w 130139"/>
                <a:gd name="connsiteY12" fmla="*/ 67671 h 312925"/>
                <a:gd name="connsiteX13" fmla="*/ 116822 w 130139"/>
                <a:gd name="connsiteY13" fmla="*/ 95336 h 312925"/>
                <a:gd name="connsiteX14" fmla="*/ 130139 w 130139"/>
                <a:gd name="connsiteY14" fmla="*/ 138116 h 312925"/>
                <a:gd name="connsiteX15" fmla="*/ 130139 w 130139"/>
                <a:gd name="connsiteY15" fmla="*/ 303012 h 312925"/>
                <a:gd name="connsiteX16" fmla="*/ 120226 w 130139"/>
                <a:gd name="connsiteY16" fmla="*/ 312925 h 3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139" h="312925">
                  <a:moveTo>
                    <a:pt x="120226" y="312925"/>
                  </a:moveTo>
                  <a:cubicBezTo>
                    <a:pt x="114753" y="312925"/>
                    <a:pt x="110312" y="308484"/>
                    <a:pt x="110312" y="303012"/>
                  </a:cubicBezTo>
                  <a:lnTo>
                    <a:pt x="110312" y="138116"/>
                  </a:lnTo>
                  <a:cubicBezTo>
                    <a:pt x="110312" y="115216"/>
                    <a:pt x="95931" y="94351"/>
                    <a:pt x="74524" y="86202"/>
                  </a:cubicBezTo>
                  <a:lnTo>
                    <a:pt x="24467" y="67149"/>
                  </a:lnTo>
                  <a:cubicBezTo>
                    <a:pt x="24018" y="66977"/>
                    <a:pt x="23582" y="66772"/>
                    <a:pt x="23165" y="66541"/>
                  </a:cubicBezTo>
                  <a:cubicBezTo>
                    <a:pt x="10456" y="59449"/>
                    <a:pt x="2321" y="46542"/>
                    <a:pt x="1389" y="32022"/>
                  </a:cubicBezTo>
                  <a:lnTo>
                    <a:pt x="21" y="10549"/>
                  </a:lnTo>
                  <a:cubicBezTo>
                    <a:pt x="-330" y="5083"/>
                    <a:pt x="3821" y="371"/>
                    <a:pt x="9280" y="21"/>
                  </a:cubicBezTo>
                  <a:cubicBezTo>
                    <a:pt x="14746" y="-330"/>
                    <a:pt x="19458" y="3821"/>
                    <a:pt x="19808" y="9280"/>
                  </a:cubicBezTo>
                  <a:lnTo>
                    <a:pt x="21176" y="30753"/>
                  </a:lnTo>
                  <a:cubicBezTo>
                    <a:pt x="21659" y="38307"/>
                    <a:pt x="25783" y="45035"/>
                    <a:pt x="32259" y="48894"/>
                  </a:cubicBezTo>
                  <a:lnTo>
                    <a:pt x="81583" y="67671"/>
                  </a:lnTo>
                  <a:cubicBezTo>
                    <a:pt x="95924" y="73130"/>
                    <a:pt x="108111" y="82700"/>
                    <a:pt x="116822" y="95336"/>
                  </a:cubicBezTo>
                  <a:cubicBezTo>
                    <a:pt x="125533" y="107973"/>
                    <a:pt x="130139" y="122764"/>
                    <a:pt x="130139" y="138116"/>
                  </a:cubicBezTo>
                  <a:lnTo>
                    <a:pt x="130139" y="303012"/>
                  </a:lnTo>
                  <a:cubicBezTo>
                    <a:pt x="130139" y="308484"/>
                    <a:pt x="125698" y="312925"/>
                    <a:pt x="120226" y="31292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456">
              <a:extLst>
                <a:ext uri="{FF2B5EF4-FFF2-40B4-BE49-F238E27FC236}">
                  <a16:creationId xmlns:a16="http://schemas.microsoft.com/office/drawing/2014/main" id="{27D8891E-1D0B-3907-EA06-C5D2BD88121F}"/>
                </a:ext>
              </a:extLst>
            </p:cNvPr>
            <p:cNvSpPr/>
            <p:nvPr/>
          </p:nvSpPr>
          <p:spPr>
            <a:xfrm>
              <a:off x="1975115" y="3467298"/>
              <a:ext cx="146430" cy="53113"/>
            </a:xfrm>
            <a:custGeom>
              <a:avLst/>
              <a:gdLst>
                <a:gd name="connsiteX0" fmla="*/ 72644 w 146430"/>
                <a:gd name="connsiteY0" fmla="*/ 53113 h 53113"/>
                <a:gd name="connsiteX1" fmla="*/ 19217 w 146430"/>
                <a:gd name="connsiteY1" fmla="*/ 34066 h 53113"/>
                <a:gd name="connsiteX2" fmla="*/ 2998 w 146430"/>
                <a:gd name="connsiteY2" fmla="*/ 18271 h 53113"/>
                <a:gd name="connsiteX3" fmla="*/ 2813 w 146430"/>
                <a:gd name="connsiteY3" fmla="*/ 4253 h 53113"/>
                <a:gd name="connsiteX4" fmla="*/ 16831 w 146430"/>
                <a:gd name="connsiteY4" fmla="*/ 4068 h 53113"/>
                <a:gd name="connsiteX5" fmla="*/ 33049 w 146430"/>
                <a:gd name="connsiteY5" fmla="*/ 19863 h 53113"/>
                <a:gd name="connsiteX6" fmla="*/ 73173 w 146430"/>
                <a:gd name="connsiteY6" fmla="*/ 33339 h 53113"/>
                <a:gd name="connsiteX7" fmla="*/ 113085 w 146430"/>
                <a:gd name="connsiteY7" fmla="*/ 19328 h 53113"/>
                <a:gd name="connsiteX8" fmla="*/ 129508 w 146430"/>
                <a:gd name="connsiteY8" fmla="*/ 2905 h 53113"/>
                <a:gd name="connsiteX9" fmla="*/ 143526 w 146430"/>
                <a:gd name="connsiteY9" fmla="*/ 2905 h 53113"/>
                <a:gd name="connsiteX10" fmla="*/ 143526 w 146430"/>
                <a:gd name="connsiteY10" fmla="*/ 16922 h 53113"/>
                <a:gd name="connsiteX11" fmla="*/ 127102 w 146430"/>
                <a:gd name="connsiteY11" fmla="*/ 33346 h 53113"/>
                <a:gd name="connsiteX12" fmla="*/ 72644 w 146430"/>
                <a:gd name="connsiteY12" fmla="*/ 53107 h 5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6430" h="53113">
                  <a:moveTo>
                    <a:pt x="72644" y="53113"/>
                  </a:moveTo>
                  <a:cubicBezTo>
                    <a:pt x="52440" y="53113"/>
                    <a:pt x="32269" y="46782"/>
                    <a:pt x="19217" y="34066"/>
                  </a:cubicBezTo>
                  <a:lnTo>
                    <a:pt x="2998" y="18271"/>
                  </a:lnTo>
                  <a:cubicBezTo>
                    <a:pt x="-928" y="14451"/>
                    <a:pt x="-1007" y="8172"/>
                    <a:pt x="2813" y="4253"/>
                  </a:cubicBezTo>
                  <a:cubicBezTo>
                    <a:pt x="6633" y="327"/>
                    <a:pt x="12912" y="248"/>
                    <a:pt x="16831" y="4068"/>
                  </a:cubicBezTo>
                  <a:lnTo>
                    <a:pt x="33049" y="19863"/>
                  </a:lnTo>
                  <a:cubicBezTo>
                    <a:pt x="41833" y="28416"/>
                    <a:pt x="56842" y="33458"/>
                    <a:pt x="73173" y="33339"/>
                  </a:cubicBezTo>
                  <a:cubicBezTo>
                    <a:pt x="89504" y="33227"/>
                    <a:pt x="104427" y="27986"/>
                    <a:pt x="113085" y="19328"/>
                  </a:cubicBezTo>
                  <a:lnTo>
                    <a:pt x="129508" y="2905"/>
                  </a:lnTo>
                  <a:cubicBezTo>
                    <a:pt x="133381" y="-968"/>
                    <a:pt x="139653" y="-968"/>
                    <a:pt x="143526" y="2905"/>
                  </a:cubicBezTo>
                  <a:cubicBezTo>
                    <a:pt x="147399" y="6778"/>
                    <a:pt x="147399" y="13056"/>
                    <a:pt x="143526" y="16922"/>
                  </a:cubicBezTo>
                  <a:lnTo>
                    <a:pt x="127102" y="33346"/>
                  </a:lnTo>
                  <a:cubicBezTo>
                    <a:pt x="113944" y="46504"/>
                    <a:pt x="93277" y="53107"/>
                    <a:pt x="72644" y="53107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457">
              <a:extLst>
                <a:ext uri="{FF2B5EF4-FFF2-40B4-BE49-F238E27FC236}">
                  <a16:creationId xmlns:a16="http://schemas.microsoft.com/office/drawing/2014/main" id="{312F815C-DF42-F076-AC0B-5CF17AA3C971}"/>
                </a:ext>
              </a:extLst>
            </p:cNvPr>
            <p:cNvSpPr/>
            <p:nvPr/>
          </p:nvSpPr>
          <p:spPr>
            <a:xfrm>
              <a:off x="2038625" y="3661752"/>
              <a:ext cx="19827" cy="65402"/>
            </a:xfrm>
            <a:custGeom>
              <a:avLst/>
              <a:gdLst>
                <a:gd name="connsiteX0" fmla="*/ 9914 w 19827"/>
                <a:gd name="connsiteY0" fmla="*/ 65403 h 65402"/>
                <a:gd name="connsiteX1" fmla="*/ 0 w 19827"/>
                <a:gd name="connsiteY1" fmla="*/ 55489 h 65402"/>
                <a:gd name="connsiteX2" fmla="*/ 0 w 19827"/>
                <a:gd name="connsiteY2" fmla="*/ 9914 h 65402"/>
                <a:gd name="connsiteX3" fmla="*/ 9914 w 19827"/>
                <a:gd name="connsiteY3" fmla="*/ 0 h 65402"/>
                <a:gd name="connsiteX4" fmla="*/ 19827 w 19827"/>
                <a:gd name="connsiteY4" fmla="*/ 9914 h 65402"/>
                <a:gd name="connsiteX5" fmla="*/ 19827 w 19827"/>
                <a:gd name="connsiteY5" fmla="*/ 55489 h 65402"/>
                <a:gd name="connsiteX6" fmla="*/ 9914 w 19827"/>
                <a:gd name="connsiteY6" fmla="*/ 65403 h 65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27" h="65402">
                  <a:moveTo>
                    <a:pt x="9914" y="65403"/>
                  </a:moveTo>
                  <a:cubicBezTo>
                    <a:pt x="4441" y="65403"/>
                    <a:pt x="0" y="60962"/>
                    <a:pt x="0" y="55489"/>
                  </a:cubicBezTo>
                  <a:lnTo>
                    <a:pt x="0" y="9914"/>
                  </a:lnTo>
                  <a:cubicBezTo>
                    <a:pt x="0" y="4441"/>
                    <a:pt x="4441" y="0"/>
                    <a:pt x="9914" y="0"/>
                  </a:cubicBezTo>
                  <a:cubicBezTo>
                    <a:pt x="15386" y="0"/>
                    <a:pt x="19827" y="4441"/>
                    <a:pt x="19827" y="9914"/>
                  </a:cubicBezTo>
                  <a:lnTo>
                    <a:pt x="19827" y="55489"/>
                  </a:lnTo>
                  <a:cubicBezTo>
                    <a:pt x="19827" y="60962"/>
                    <a:pt x="15386" y="65403"/>
                    <a:pt x="9914" y="65403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458">
              <a:extLst>
                <a:ext uri="{FF2B5EF4-FFF2-40B4-BE49-F238E27FC236}">
                  <a16:creationId xmlns:a16="http://schemas.microsoft.com/office/drawing/2014/main" id="{234D8EDD-15CE-60CB-F559-EC41ED93B71A}"/>
                </a:ext>
              </a:extLst>
            </p:cNvPr>
            <p:cNvSpPr/>
            <p:nvPr/>
          </p:nvSpPr>
          <p:spPr>
            <a:xfrm>
              <a:off x="2038625" y="3553516"/>
              <a:ext cx="19827" cy="65402"/>
            </a:xfrm>
            <a:custGeom>
              <a:avLst/>
              <a:gdLst>
                <a:gd name="connsiteX0" fmla="*/ 9914 w 19827"/>
                <a:gd name="connsiteY0" fmla="*/ 65403 h 65402"/>
                <a:gd name="connsiteX1" fmla="*/ 0 w 19827"/>
                <a:gd name="connsiteY1" fmla="*/ 55489 h 65402"/>
                <a:gd name="connsiteX2" fmla="*/ 0 w 19827"/>
                <a:gd name="connsiteY2" fmla="*/ 9914 h 65402"/>
                <a:gd name="connsiteX3" fmla="*/ 9914 w 19827"/>
                <a:gd name="connsiteY3" fmla="*/ 0 h 65402"/>
                <a:gd name="connsiteX4" fmla="*/ 19827 w 19827"/>
                <a:gd name="connsiteY4" fmla="*/ 9914 h 65402"/>
                <a:gd name="connsiteX5" fmla="*/ 19827 w 19827"/>
                <a:gd name="connsiteY5" fmla="*/ 55489 h 65402"/>
                <a:gd name="connsiteX6" fmla="*/ 9914 w 19827"/>
                <a:gd name="connsiteY6" fmla="*/ 65403 h 65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27" h="65402">
                  <a:moveTo>
                    <a:pt x="9914" y="65403"/>
                  </a:moveTo>
                  <a:cubicBezTo>
                    <a:pt x="4441" y="65403"/>
                    <a:pt x="0" y="60962"/>
                    <a:pt x="0" y="55489"/>
                  </a:cubicBezTo>
                  <a:lnTo>
                    <a:pt x="0" y="9914"/>
                  </a:lnTo>
                  <a:cubicBezTo>
                    <a:pt x="0" y="4441"/>
                    <a:pt x="4441" y="0"/>
                    <a:pt x="9914" y="0"/>
                  </a:cubicBezTo>
                  <a:cubicBezTo>
                    <a:pt x="15386" y="0"/>
                    <a:pt x="19827" y="4441"/>
                    <a:pt x="19827" y="9914"/>
                  </a:cubicBezTo>
                  <a:lnTo>
                    <a:pt x="19827" y="55489"/>
                  </a:lnTo>
                  <a:cubicBezTo>
                    <a:pt x="19827" y="60962"/>
                    <a:pt x="15386" y="65403"/>
                    <a:pt x="9914" y="65403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459">
              <a:extLst>
                <a:ext uri="{FF2B5EF4-FFF2-40B4-BE49-F238E27FC236}">
                  <a16:creationId xmlns:a16="http://schemas.microsoft.com/office/drawing/2014/main" id="{B2459047-A0F1-7EC6-0838-FFB66FF83606}"/>
                </a:ext>
              </a:extLst>
            </p:cNvPr>
            <p:cNvSpPr/>
            <p:nvPr/>
          </p:nvSpPr>
          <p:spPr>
            <a:xfrm>
              <a:off x="1944005" y="3208809"/>
              <a:ext cx="200570" cy="141757"/>
            </a:xfrm>
            <a:custGeom>
              <a:avLst/>
              <a:gdLst>
                <a:gd name="connsiteX0" fmla="*/ 13375 w 200570"/>
                <a:gd name="connsiteY0" fmla="*/ 141757 h 141757"/>
                <a:gd name="connsiteX1" fmla="*/ 10117 w 200570"/>
                <a:gd name="connsiteY1" fmla="*/ 141209 h 141757"/>
                <a:gd name="connsiteX2" fmla="*/ 3752 w 200570"/>
                <a:gd name="connsiteY2" fmla="*/ 134236 h 141757"/>
                <a:gd name="connsiteX3" fmla="*/ 19872 w 200570"/>
                <a:gd name="connsiteY3" fmla="*/ 33594 h 141757"/>
                <a:gd name="connsiteX4" fmla="*/ 102425 w 200570"/>
                <a:gd name="connsiteY4" fmla="*/ 0 h 141757"/>
                <a:gd name="connsiteX5" fmla="*/ 182526 w 200570"/>
                <a:gd name="connsiteY5" fmla="*/ 30838 h 141757"/>
                <a:gd name="connsiteX6" fmla="*/ 199075 w 200570"/>
                <a:gd name="connsiteY6" fmla="*/ 104000 h 141757"/>
                <a:gd name="connsiteX7" fmla="*/ 193140 w 200570"/>
                <a:gd name="connsiteY7" fmla="*/ 111184 h 141757"/>
                <a:gd name="connsiteX8" fmla="*/ 149640 w 200570"/>
                <a:gd name="connsiteY8" fmla="*/ 118566 h 141757"/>
                <a:gd name="connsiteX9" fmla="*/ 103165 w 200570"/>
                <a:gd name="connsiteY9" fmla="*/ 110384 h 141757"/>
                <a:gd name="connsiteX10" fmla="*/ 90985 w 200570"/>
                <a:gd name="connsiteY10" fmla="*/ 105282 h 141757"/>
                <a:gd name="connsiteX11" fmla="*/ 75176 w 200570"/>
                <a:gd name="connsiteY11" fmla="*/ 96631 h 141757"/>
                <a:gd name="connsiteX12" fmla="*/ 19429 w 200570"/>
                <a:gd name="connsiteY12" fmla="*/ 139688 h 141757"/>
                <a:gd name="connsiteX13" fmla="*/ 13368 w 200570"/>
                <a:gd name="connsiteY13" fmla="*/ 141757 h 141757"/>
                <a:gd name="connsiteX14" fmla="*/ 102425 w 200570"/>
                <a:gd name="connsiteY14" fmla="*/ 19827 h 141757"/>
                <a:gd name="connsiteX15" fmla="*/ 35495 w 200570"/>
                <a:gd name="connsiteY15" fmla="*/ 45807 h 141757"/>
                <a:gd name="connsiteX16" fmla="*/ 20552 w 200570"/>
                <a:gd name="connsiteY16" fmla="*/ 113781 h 141757"/>
                <a:gd name="connsiteX17" fmla="*/ 68402 w 200570"/>
                <a:gd name="connsiteY17" fmla="*/ 76823 h 141757"/>
                <a:gd name="connsiteX18" fmla="*/ 80727 w 200570"/>
                <a:gd name="connsiteY18" fmla="*/ 76989 h 141757"/>
                <a:gd name="connsiteX19" fmla="*/ 81745 w 200570"/>
                <a:gd name="connsiteY19" fmla="*/ 77517 h 141757"/>
                <a:gd name="connsiteX20" fmla="*/ 99517 w 200570"/>
                <a:gd name="connsiteY20" fmla="*/ 87378 h 141757"/>
                <a:gd name="connsiteX21" fmla="*/ 109953 w 200570"/>
                <a:gd name="connsiteY21" fmla="*/ 91747 h 141757"/>
                <a:gd name="connsiteX22" fmla="*/ 180359 w 200570"/>
                <a:gd name="connsiteY22" fmla="*/ 94549 h 141757"/>
                <a:gd name="connsiteX23" fmla="*/ 167088 w 200570"/>
                <a:gd name="connsiteY23" fmla="*/ 43263 h 141757"/>
                <a:gd name="connsiteX24" fmla="*/ 102432 w 200570"/>
                <a:gd name="connsiteY24" fmla="*/ 19814 h 14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0570" h="141757">
                  <a:moveTo>
                    <a:pt x="13375" y="141757"/>
                  </a:moveTo>
                  <a:cubicBezTo>
                    <a:pt x="12278" y="141757"/>
                    <a:pt x="11181" y="141579"/>
                    <a:pt x="10117" y="141209"/>
                  </a:cubicBezTo>
                  <a:cubicBezTo>
                    <a:pt x="6951" y="140105"/>
                    <a:pt x="4558" y="137488"/>
                    <a:pt x="3752" y="134236"/>
                  </a:cubicBezTo>
                  <a:cubicBezTo>
                    <a:pt x="3137" y="131758"/>
                    <a:pt x="-10979" y="73043"/>
                    <a:pt x="19872" y="33594"/>
                  </a:cubicBezTo>
                  <a:cubicBezTo>
                    <a:pt x="37300" y="11301"/>
                    <a:pt x="65077" y="0"/>
                    <a:pt x="102425" y="0"/>
                  </a:cubicBezTo>
                  <a:cubicBezTo>
                    <a:pt x="139773" y="0"/>
                    <a:pt x="165806" y="10376"/>
                    <a:pt x="182526" y="30838"/>
                  </a:cubicBezTo>
                  <a:cubicBezTo>
                    <a:pt x="207409" y="61299"/>
                    <a:pt x="199432" y="102268"/>
                    <a:pt x="199075" y="104000"/>
                  </a:cubicBezTo>
                  <a:cubicBezTo>
                    <a:pt x="198414" y="107232"/>
                    <a:pt x="196194" y="109928"/>
                    <a:pt x="193140" y="111184"/>
                  </a:cubicBezTo>
                  <a:cubicBezTo>
                    <a:pt x="192050" y="111633"/>
                    <a:pt x="174814" y="118559"/>
                    <a:pt x="149640" y="118566"/>
                  </a:cubicBezTo>
                  <a:cubicBezTo>
                    <a:pt x="136038" y="118566"/>
                    <a:pt x="120117" y="116544"/>
                    <a:pt x="103165" y="110384"/>
                  </a:cubicBezTo>
                  <a:cubicBezTo>
                    <a:pt x="99068" y="108890"/>
                    <a:pt x="94970" y="107179"/>
                    <a:pt x="90985" y="105282"/>
                  </a:cubicBezTo>
                  <a:cubicBezTo>
                    <a:pt x="87733" y="103735"/>
                    <a:pt x="80060" y="99433"/>
                    <a:pt x="75176" y="96631"/>
                  </a:cubicBezTo>
                  <a:lnTo>
                    <a:pt x="19429" y="139688"/>
                  </a:lnTo>
                  <a:cubicBezTo>
                    <a:pt x="17671" y="141050"/>
                    <a:pt x="15529" y="141757"/>
                    <a:pt x="13368" y="141757"/>
                  </a:cubicBezTo>
                  <a:close/>
                  <a:moveTo>
                    <a:pt x="102425" y="19827"/>
                  </a:moveTo>
                  <a:cubicBezTo>
                    <a:pt x="71495" y="19827"/>
                    <a:pt x="48971" y="28564"/>
                    <a:pt x="35495" y="45807"/>
                  </a:cubicBezTo>
                  <a:cubicBezTo>
                    <a:pt x="19118" y="66751"/>
                    <a:pt x="18794" y="95996"/>
                    <a:pt x="20552" y="113781"/>
                  </a:cubicBezTo>
                  <a:lnTo>
                    <a:pt x="68402" y="76823"/>
                  </a:lnTo>
                  <a:cubicBezTo>
                    <a:pt x="72123" y="73948"/>
                    <a:pt x="77238" y="74134"/>
                    <a:pt x="80727" y="76989"/>
                  </a:cubicBezTo>
                  <a:cubicBezTo>
                    <a:pt x="81071" y="77141"/>
                    <a:pt x="81415" y="77319"/>
                    <a:pt x="81745" y="77517"/>
                  </a:cubicBezTo>
                  <a:cubicBezTo>
                    <a:pt x="85585" y="79797"/>
                    <a:pt x="96457" y="85924"/>
                    <a:pt x="99517" y="87378"/>
                  </a:cubicBezTo>
                  <a:cubicBezTo>
                    <a:pt x="102934" y="89004"/>
                    <a:pt x="106443" y="90471"/>
                    <a:pt x="109953" y="91747"/>
                  </a:cubicBezTo>
                  <a:cubicBezTo>
                    <a:pt x="141438" y="103193"/>
                    <a:pt x="169169" y="97715"/>
                    <a:pt x="180359" y="94549"/>
                  </a:cubicBezTo>
                  <a:cubicBezTo>
                    <a:pt x="181297" y="84067"/>
                    <a:pt x="181423" y="60717"/>
                    <a:pt x="167088" y="43263"/>
                  </a:cubicBezTo>
                  <a:cubicBezTo>
                    <a:pt x="154306" y="27705"/>
                    <a:pt x="132549" y="19814"/>
                    <a:pt x="102432" y="19814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460">
              <a:extLst>
                <a:ext uri="{FF2B5EF4-FFF2-40B4-BE49-F238E27FC236}">
                  <a16:creationId xmlns:a16="http://schemas.microsoft.com/office/drawing/2014/main" id="{75773537-A205-E0CC-6E04-34DC4F584DAB}"/>
                </a:ext>
              </a:extLst>
            </p:cNvPr>
            <p:cNvSpPr/>
            <p:nvPr/>
          </p:nvSpPr>
          <p:spPr>
            <a:xfrm>
              <a:off x="1954425" y="3304625"/>
              <a:ext cx="187400" cy="135856"/>
            </a:xfrm>
            <a:custGeom>
              <a:avLst/>
              <a:gdLst>
                <a:gd name="connsiteX0" fmla="*/ 90941 w 187400"/>
                <a:gd name="connsiteY0" fmla="*/ 135857 h 135856"/>
                <a:gd name="connsiteX1" fmla="*/ 42946 w 187400"/>
                <a:gd name="connsiteY1" fmla="*/ 120920 h 135856"/>
                <a:gd name="connsiteX2" fmla="*/ 8910 w 187400"/>
                <a:gd name="connsiteY2" fmla="*/ 82337 h 135856"/>
                <a:gd name="connsiteX3" fmla="*/ 668 w 187400"/>
                <a:gd name="connsiteY3" fmla="*/ 42299 h 135856"/>
                <a:gd name="connsiteX4" fmla="*/ 34 w 187400"/>
                <a:gd name="connsiteY4" fmla="*/ 32908 h 135856"/>
                <a:gd name="connsiteX5" fmla="*/ 9095 w 187400"/>
                <a:gd name="connsiteY5" fmla="*/ 22208 h 135856"/>
                <a:gd name="connsiteX6" fmla="*/ 19795 w 187400"/>
                <a:gd name="connsiteY6" fmla="*/ 31269 h 135856"/>
                <a:gd name="connsiteX7" fmla="*/ 20463 w 187400"/>
                <a:gd name="connsiteY7" fmla="*/ 41110 h 135856"/>
                <a:gd name="connsiteX8" fmla="*/ 26444 w 187400"/>
                <a:gd name="connsiteY8" fmla="*/ 73064 h 135856"/>
                <a:gd name="connsiteX9" fmla="*/ 90948 w 187400"/>
                <a:gd name="connsiteY9" fmla="*/ 116023 h 135856"/>
                <a:gd name="connsiteX10" fmla="*/ 167573 w 187400"/>
                <a:gd name="connsiteY10" fmla="*/ 22776 h 135856"/>
                <a:gd name="connsiteX11" fmla="*/ 166958 w 187400"/>
                <a:gd name="connsiteY11" fmla="*/ 10946 h 135856"/>
                <a:gd name="connsiteX12" fmla="*/ 175788 w 187400"/>
                <a:gd name="connsiteY12" fmla="*/ 54 h 135856"/>
                <a:gd name="connsiteX13" fmla="*/ 186680 w 187400"/>
                <a:gd name="connsiteY13" fmla="*/ 8884 h 135856"/>
                <a:gd name="connsiteX14" fmla="*/ 187400 w 187400"/>
                <a:gd name="connsiteY14" fmla="*/ 22776 h 135856"/>
                <a:gd name="connsiteX15" fmla="*/ 159735 w 187400"/>
                <a:gd name="connsiteY15" fmla="*/ 102091 h 135856"/>
                <a:gd name="connsiteX16" fmla="*/ 90948 w 187400"/>
                <a:gd name="connsiteY16" fmla="*/ 135850 h 13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7400" h="135856">
                  <a:moveTo>
                    <a:pt x="90941" y="135857"/>
                  </a:moveTo>
                  <a:cubicBezTo>
                    <a:pt x="74075" y="135857"/>
                    <a:pt x="57480" y="130688"/>
                    <a:pt x="42946" y="120920"/>
                  </a:cubicBezTo>
                  <a:cubicBezTo>
                    <a:pt x="29094" y="111602"/>
                    <a:pt x="17323" y="98265"/>
                    <a:pt x="8910" y="82337"/>
                  </a:cubicBezTo>
                  <a:cubicBezTo>
                    <a:pt x="2321" y="69866"/>
                    <a:pt x="1481" y="55854"/>
                    <a:pt x="668" y="42299"/>
                  </a:cubicBezTo>
                  <a:cubicBezTo>
                    <a:pt x="483" y="39206"/>
                    <a:pt x="292" y="36014"/>
                    <a:pt x="34" y="32908"/>
                  </a:cubicBezTo>
                  <a:cubicBezTo>
                    <a:pt x="-415" y="27449"/>
                    <a:pt x="3643" y="22664"/>
                    <a:pt x="9095" y="22208"/>
                  </a:cubicBezTo>
                  <a:cubicBezTo>
                    <a:pt x="14554" y="21752"/>
                    <a:pt x="19339" y="25816"/>
                    <a:pt x="19795" y="31269"/>
                  </a:cubicBezTo>
                  <a:cubicBezTo>
                    <a:pt x="20073" y="34600"/>
                    <a:pt x="20271" y="37911"/>
                    <a:pt x="20463" y="41110"/>
                  </a:cubicBezTo>
                  <a:cubicBezTo>
                    <a:pt x="21176" y="53085"/>
                    <a:pt x="21857" y="64393"/>
                    <a:pt x="26444" y="73064"/>
                  </a:cubicBezTo>
                  <a:cubicBezTo>
                    <a:pt x="40660" y="99963"/>
                    <a:pt x="64776" y="116023"/>
                    <a:pt x="90948" y="116023"/>
                  </a:cubicBezTo>
                  <a:cubicBezTo>
                    <a:pt x="133199" y="116023"/>
                    <a:pt x="167573" y="74194"/>
                    <a:pt x="167573" y="22776"/>
                  </a:cubicBezTo>
                  <a:cubicBezTo>
                    <a:pt x="167573" y="18824"/>
                    <a:pt x="167368" y="14839"/>
                    <a:pt x="166958" y="10946"/>
                  </a:cubicBezTo>
                  <a:cubicBezTo>
                    <a:pt x="166390" y="5500"/>
                    <a:pt x="170342" y="623"/>
                    <a:pt x="175788" y="54"/>
                  </a:cubicBezTo>
                  <a:cubicBezTo>
                    <a:pt x="181234" y="-514"/>
                    <a:pt x="186111" y="3438"/>
                    <a:pt x="186680" y="8884"/>
                  </a:cubicBezTo>
                  <a:cubicBezTo>
                    <a:pt x="187155" y="13464"/>
                    <a:pt x="187400" y="18137"/>
                    <a:pt x="187400" y="22776"/>
                  </a:cubicBezTo>
                  <a:cubicBezTo>
                    <a:pt x="187400" y="52656"/>
                    <a:pt x="177572" y="80823"/>
                    <a:pt x="159735" y="102091"/>
                  </a:cubicBezTo>
                  <a:cubicBezTo>
                    <a:pt x="141474" y="123861"/>
                    <a:pt x="117047" y="135850"/>
                    <a:pt x="90948" y="13585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461">
              <a:extLst>
                <a:ext uri="{FF2B5EF4-FFF2-40B4-BE49-F238E27FC236}">
                  <a16:creationId xmlns:a16="http://schemas.microsoft.com/office/drawing/2014/main" id="{D4A63B81-69BA-C6AA-E366-B611EF9E94B3}"/>
                </a:ext>
              </a:extLst>
            </p:cNvPr>
            <p:cNvSpPr/>
            <p:nvPr/>
          </p:nvSpPr>
          <p:spPr>
            <a:xfrm>
              <a:off x="1994913" y="3145778"/>
              <a:ext cx="105136" cy="84013"/>
            </a:xfrm>
            <a:custGeom>
              <a:avLst/>
              <a:gdLst>
                <a:gd name="connsiteX0" fmla="*/ 15749 w 105136"/>
                <a:gd name="connsiteY0" fmla="*/ 84014 h 84013"/>
                <a:gd name="connsiteX1" fmla="*/ 7184 w 105136"/>
                <a:gd name="connsiteY1" fmla="*/ 79110 h 84013"/>
                <a:gd name="connsiteX2" fmla="*/ 0 w 105136"/>
                <a:gd name="connsiteY2" fmla="*/ 52568 h 84013"/>
                <a:gd name="connsiteX3" fmla="*/ 52568 w 105136"/>
                <a:gd name="connsiteY3" fmla="*/ 0 h 84013"/>
                <a:gd name="connsiteX4" fmla="*/ 105136 w 105136"/>
                <a:gd name="connsiteY4" fmla="*/ 52568 h 84013"/>
                <a:gd name="connsiteX5" fmla="*/ 98627 w 105136"/>
                <a:gd name="connsiteY5" fmla="*/ 77927 h 84013"/>
                <a:gd name="connsiteX6" fmla="*/ 85157 w 105136"/>
                <a:gd name="connsiteY6" fmla="*/ 81820 h 84013"/>
                <a:gd name="connsiteX7" fmla="*/ 81265 w 105136"/>
                <a:gd name="connsiteY7" fmla="*/ 68351 h 84013"/>
                <a:gd name="connsiteX8" fmla="*/ 85309 w 105136"/>
                <a:gd name="connsiteY8" fmla="*/ 52568 h 84013"/>
                <a:gd name="connsiteX9" fmla="*/ 52568 w 105136"/>
                <a:gd name="connsiteY9" fmla="*/ 19827 h 84013"/>
                <a:gd name="connsiteX10" fmla="*/ 19827 w 105136"/>
                <a:gd name="connsiteY10" fmla="*/ 52568 h 84013"/>
                <a:gd name="connsiteX11" fmla="*/ 24295 w 105136"/>
                <a:gd name="connsiteY11" fmla="*/ 69091 h 84013"/>
                <a:gd name="connsiteX12" fmla="*/ 20752 w 105136"/>
                <a:gd name="connsiteY12" fmla="*/ 82653 h 84013"/>
                <a:gd name="connsiteX13" fmla="*/ 15749 w 105136"/>
                <a:gd name="connsiteY13" fmla="*/ 84014 h 8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136" h="84013">
                  <a:moveTo>
                    <a:pt x="15749" y="84014"/>
                  </a:moveTo>
                  <a:cubicBezTo>
                    <a:pt x="12346" y="84014"/>
                    <a:pt x="9028" y="82256"/>
                    <a:pt x="7184" y="79110"/>
                  </a:cubicBezTo>
                  <a:cubicBezTo>
                    <a:pt x="2485" y="71087"/>
                    <a:pt x="0" y="61907"/>
                    <a:pt x="0" y="52568"/>
                  </a:cubicBezTo>
                  <a:cubicBezTo>
                    <a:pt x="0" y="23581"/>
                    <a:pt x="23581" y="0"/>
                    <a:pt x="52568" y="0"/>
                  </a:cubicBezTo>
                  <a:cubicBezTo>
                    <a:pt x="81555" y="0"/>
                    <a:pt x="105136" y="23581"/>
                    <a:pt x="105136" y="52568"/>
                  </a:cubicBezTo>
                  <a:cubicBezTo>
                    <a:pt x="105136" y="61438"/>
                    <a:pt x="102883" y="70201"/>
                    <a:pt x="98627" y="77927"/>
                  </a:cubicBezTo>
                  <a:cubicBezTo>
                    <a:pt x="95983" y="82719"/>
                    <a:pt x="89956" y="84463"/>
                    <a:pt x="85157" y="81820"/>
                  </a:cubicBezTo>
                  <a:cubicBezTo>
                    <a:pt x="80366" y="79176"/>
                    <a:pt x="78621" y="73142"/>
                    <a:pt x="81265" y="68351"/>
                  </a:cubicBezTo>
                  <a:cubicBezTo>
                    <a:pt x="83915" y="63552"/>
                    <a:pt x="85309" y="58093"/>
                    <a:pt x="85309" y="52568"/>
                  </a:cubicBezTo>
                  <a:cubicBezTo>
                    <a:pt x="85309" y="34512"/>
                    <a:pt x="70617" y="19827"/>
                    <a:pt x="52568" y="19827"/>
                  </a:cubicBezTo>
                  <a:cubicBezTo>
                    <a:pt x="34519" y="19827"/>
                    <a:pt x="19827" y="34519"/>
                    <a:pt x="19827" y="52568"/>
                  </a:cubicBezTo>
                  <a:cubicBezTo>
                    <a:pt x="19827" y="58391"/>
                    <a:pt x="21374" y="64101"/>
                    <a:pt x="24295" y="69091"/>
                  </a:cubicBezTo>
                  <a:cubicBezTo>
                    <a:pt x="27064" y="73816"/>
                    <a:pt x="25478" y="79890"/>
                    <a:pt x="20752" y="82653"/>
                  </a:cubicBezTo>
                  <a:cubicBezTo>
                    <a:pt x="19179" y="83578"/>
                    <a:pt x="17454" y="84014"/>
                    <a:pt x="15749" y="84014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48" name="Gruppieren 147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1648125" y="3049057"/>
            <a:ext cx="587725" cy="990507"/>
            <a:chOff x="7939604" y="5431146"/>
            <a:chExt cx="355595" cy="599293"/>
          </a:xfrm>
        </p:grpSpPr>
        <p:sp>
          <p:nvSpPr>
            <p:cNvPr id="149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62" name="Gruppieren 161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7956200" y="3077632"/>
            <a:ext cx="614418" cy="1035493"/>
            <a:chOff x="7939604" y="5431146"/>
            <a:chExt cx="355595" cy="599293"/>
          </a:xfrm>
        </p:grpSpPr>
        <p:sp>
          <p:nvSpPr>
            <p:cNvPr id="163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4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5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6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7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8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69" name="Gruppieren 168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4509143" y="3080488"/>
            <a:ext cx="587725" cy="990507"/>
            <a:chOff x="7939604" y="5431146"/>
            <a:chExt cx="355595" cy="599293"/>
          </a:xfrm>
        </p:grpSpPr>
        <p:sp>
          <p:nvSpPr>
            <p:cNvPr id="170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1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2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3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4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5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76" name="Gruppieren 175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6530813" y="3049057"/>
            <a:ext cx="620069" cy="1045018"/>
            <a:chOff x="7939604" y="5431146"/>
            <a:chExt cx="355595" cy="599293"/>
          </a:xfrm>
        </p:grpSpPr>
        <p:sp>
          <p:nvSpPr>
            <p:cNvPr id="177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8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9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86" name="Textfeld 185"/>
          <p:cNvSpPr txBox="1"/>
          <p:nvPr/>
        </p:nvSpPr>
        <p:spPr>
          <a:xfrm>
            <a:off x="4560889" y="3250220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57</a:t>
            </a:r>
          </a:p>
        </p:txBody>
      </p:sp>
      <p:sp>
        <p:nvSpPr>
          <p:cNvPr id="187" name="Textfeld 186"/>
          <p:cNvSpPr txBox="1"/>
          <p:nvPr/>
        </p:nvSpPr>
        <p:spPr>
          <a:xfrm>
            <a:off x="1699088" y="3222701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52</a:t>
            </a:r>
          </a:p>
        </p:txBody>
      </p:sp>
      <p:sp>
        <p:nvSpPr>
          <p:cNvPr id="189" name="Textfeld 188"/>
          <p:cNvSpPr txBox="1"/>
          <p:nvPr/>
        </p:nvSpPr>
        <p:spPr>
          <a:xfrm>
            <a:off x="6600826" y="3231029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60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8016688" y="3250078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62</a:t>
            </a:r>
          </a:p>
        </p:txBody>
      </p:sp>
      <p:sp>
        <p:nvSpPr>
          <p:cNvPr id="191" name="Textfeld 190"/>
          <p:cNvSpPr txBox="1"/>
          <p:nvPr/>
        </p:nvSpPr>
        <p:spPr>
          <a:xfrm>
            <a:off x="9960649" y="3063324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65</a:t>
            </a:r>
          </a:p>
        </p:txBody>
      </p:sp>
      <p:grpSp>
        <p:nvGrpSpPr>
          <p:cNvPr id="193" name="Gruppieren 192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11426857" y="3164170"/>
            <a:ext cx="558359" cy="941015"/>
            <a:chOff x="7939604" y="5431146"/>
            <a:chExt cx="355595" cy="599293"/>
          </a:xfrm>
        </p:grpSpPr>
        <p:sp>
          <p:nvSpPr>
            <p:cNvPr id="194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5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6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00" name="Textfeld 199"/>
          <p:cNvSpPr txBox="1"/>
          <p:nvPr/>
        </p:nvSpPr>
        <p:spPr>
          <a:xfrm>
            <a:off x="11456896" y="3315698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defRPr sz="1600">
                <a:solidFill>
                  <a:srgbClr val="284191"/>
                </a:solidFill>
                <a:latin typeface="+mj-lt"/>
              </a:defRPr>
            </a:lvl1pPr>
          </a:lstStyle>
          <a:p>
            <a:r>
              <a:rPr lang="de-AT" dirty="0"/>
              <a:t>68</a:t>
            </a:r>
          </a:p>
        </p:txBody>
      </p:sp>
      <p:sp>
        <p:nvSpPr>
          <p:cNvPr id="201" name="Textfeld 200"/>
          <p:cNvSpPr txBox="1"/>
          <p:nvPr/>
        </p:nvSpPr>
        <p:spPr>
          <a:xfrm>
            <a:off x="3990807" y="4441035"/>
            <a:ext cx="15955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Sonderruhegeld</a:t>
            </a:r>
          </a:p>
        </p:txBody>
      </p:sp>
      <p:sp>
        <p:nvSpPr>
          <p:cNvPr id="202" name="Textfeld 201"/>
          <p:cNvSpPr txBox="1"/>
          <p:nvPr/>
        </p:nvSpPr>
        <p:spPr>
          <a:xfrm>
            <a:off x="1236266" y="2491379"/>
            <a:ext cx="15955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Sonderruhegeld</a:t>
            </a:r>
          </a:p>
        </p:txBody>
      </p:sp>
      <p:sp>
        <p:nvSpPr>
          <p:cNvPr id="203" name="Textfeld 202"/>
          <p:cNvSpPr txBox="1"/>
          <p:nvPr/>
        </p:nvSpPr>
        <p:spPr>
          <a:xfrm>
            <a:off x="5689455" y="2481392"/>
            <a:ext cx="220777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Schwerarbeitspension</a:t>
            </a:r>
          </a:p>
        </p:txBody>
      </p:sp>
      <p:sp>
        <p:nvSpPr>
          <p:cNvPr id="205" name="Textfeld 204"/>
          <p:cNvSpPr txBox="1"/>
          <p:nvPr/>
        </p:nvSpPr>
        <p:spPr>
          <a:xfrm>
            <a:off x="5606379" y="4438316"/>
            <a:ext cx="23739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Schwerarbeitspension</a:t>
            </a:r>
          </a:p>
        </p:txBody>
      </p:sp>
      <p:sp>
        <p:nvSpPr>
          <p:cNvPr id="206" name="Textfeld 205"/>
          <p:cNvSpPr txBox="1"/>
          <p:nvPr/>
        </p:nvSpPr>
        <p:spPr>
          <a:xfrm>
            <a:off x="5592095" y="1201146"/>
            <a:ext cx="583347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Alterspension……………………………..……………Alterspension</a:t>
            </a:r>
          </a:p>
        </p:txBody>
      </p:sp>
      <p:sp>
        <p:nvSpPr>
          <p:cNvPr id="207" name="Textfeld 206"/>
          <p:cNvSpPr txBox="1"/>
          <p:nvPr/>
        </p:nvSpPr>
        <p:spPr>
          <a:xfrm>
            <a:off x="9016574" y="4438743"/>
            <a:ext cx="23739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284191"/>
                </a:solidFill>
                <a:latin typeface="+mj-lt"/>
              </a:rPr>
              <a:t>Alterspension</a:t>
            </a:r>
          </a:p>
        </p:txBody>
      </p:sp>
      <p:sp>
        <p:nvSpPr>
          <p:cNvPr id="208" name="Textfeld 207"/>
          <p:cNvSpPr txBox="1"/>
          <p:nvPr/>
        </p:nvSpPr>
        <p:spPr>
          <a:xfrm>
            <a:off x="7387984" y="4438316"/>
            <a:ext cx="23739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FF0000"/>
                </a:solidFill>
                <a:latin typeface="+mj-lt"/>
              </a:rPr>
              <a:t>Korridorpension</a:t>
            </a:r>
          </a:p>
        </p:txBody>
      </p:sp>
      <p:sp>
        <p:nvSpPr>
          <p:cNvPr id="209" name="Textfeld 208"/>
          <p:cNvSpPr txBox="1"/>
          <p:nvPr/>
        </p:nvSpPr>
        <p:spPr>
          <a:xfrm>
            <a:off x="7788844" y="2486706"/>
            <a:ext cx="159328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>
                <a:solidFill>
                  <a:srgbClr val="FF0000"/>
                </a:solidFill>
                <a:latin typeface="+mj-lt"/>
              </a:rPr>
              <a:t>Korridorpension</a:t>
            </a:r>
          </a:p>
        </p:txBody>
      </p:sp>
      <p:sp>
        <p:nvSpPr>
          <p:cNvPr id="210" name="Textfeld 209"/>
          <p:cNvSpPr txBox="1"/>
          <p:nvPr/>
        </p:nvSpPr>
        <p:spPr>
          <a:xfrm>
            <a:off x="7382581" y="5514689"/>
            <a:ext cx="23739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 err="1">
                <a:solidFill>
                  <a:srgbClr val="284191"/>
                </a:solidFill>
                <a:latin typeface="+mj-lt"/>
              </a:rPr>
              <a:t>Hacklerpension</a:t>
            </a:r>
            <a:endParaRPr lang="de-AT" sz="1400" dirty="0">
              <a:solidFill>
                <a:srgbClr val="284191"/>
              </a:solidFill>
              <a:latin typeface="+mj-lt"/>
            </a:endParaRPr>
          </a:p>
        </p:txBody>
      </p:sp>
      <p:sp>
        <p:nvSpPr>
          <p:cNvPr id="211" name="Textfeld 210"/>
          <p:cNvSpPr txBox="1"/>
          <p:nvPr/>
        </p:nvSpPr>
        <p:spPr>
          <a:xfrm>
            <a:off x="7382580" y="1781072"/>
            <a:ext cx="23739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400" dirty="0" err="1">
                <a:solidFill>
                  <a:srgbClr val="284191"/>
                </a:solidFill>
                <a:latin typeface="+mj-lt"/>
              </a:rPr>
              <a:t>Hacklerpension</a:t>
            </a:r>
            <a:endParaRPr lang="de-AT" sz="1400" dirty="0">
              <a:solidFill>
                <a:srgbClr val="284191"/>
              </a:solidFill>
              <a:latin typeface="+mj-lt"/>
            </a:endParaRPr>
          </a:p>
        </p:txBody>
      </p:sp>
      <p:sp>
        <p:nvSpPr>
          <p:cNvPr id="225" name="Textfeld 224"/>
          <p:cNvSpPr txBox="1"/>
          <p:nvPr/>
        </p:nvSpPr>
        <p:spPr>
          <a:xfrm>
            <a:off x="9898674" y="4756281"/>
            <a:ext cx="6244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- 0 %</a:t>
            </a:r>
          </a:p>
        </p:txBody>
      </p:sp>
      <p:sp>
        <p:nvSpPr>
          <p:cNvPr id="226" name="Textfeld 225"/>
          <p:cNvSpPr txBox="1"/>
          <p:nvPr/>
        </p:nvSpPr>
        <p:spPr>
          <a:xfrm>
            <a:off x="8116339" y="5777828"/>
            <a:ext cx="90640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- 12,6 %</a:t>
            </a:r>
          </a:p>
        </p:txBody>
      </p:sp>
      <p:sp>
        <p:nvSpPr>
          <p:cNvPr id="227" name="Textfeld 226"/>
          <p:cNvSpPr txBox="1"/>
          <p:nvPr/>
        </p:nvSpPr>
        <p:spPr>
          <a:xfrm>
            <a:off x="8049262" y="4737358"/>
            <a:ext cx="906402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- 15,3 % </a:t>
            </a:r>
            <a:r>
              <a:rPr lang="de-AT" sz="1500" dirty="0">
                <a:solidFill>
                  <a:srgbClr val="FF0000"/>
                </a:solidFill>
                <a:latin typeface="+mj-lt"/>
              </a:rPr>
              <a:t>(10,2%)</a:t>
            </a:r>
          </a:p>
        </p:txBody>
      </p:sp>
      <p:sp>
        <p:nvSpPr>
          <p:cNvPr id="228" name="Textfeld 227"/>
          <p:cNvSpPr txBox="1"/>
          <p:nvPr/>
        </p:nvSpPr>
        <p:spPr>
          <a:xfrm>
            <a:off x="6387634" y="4726215"/>
            <a:ext cx="90640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- 9 %</a:t>
            </a:r>
          </a:p>
        </p:txBody>
      </p:sp>
      <p:sp>
        <p:nvSpPr>
          <p:cNvPr id="229" name="Textfeld 228"/>
          <p:cNvSpPr txBox="1"/>
          <p:nvPr/>
        </p:nvSpPr>
        <p:spPr>
          <a:xfrm>
            <a:off x="4476356" y="4737358"/>
            <a:ext cx="6244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- 0 %</a:t>
            </a:r>
          </a:p>
        </p:txBody>
      </p:sp>
      <p:sp>
        <p:nvSpPr>
          <p:cNvPr id="230" name="Textfeld 229"/>
          <p:cNvSpPr txBox="1"/>
          <p:nvPr/>
        </p:nvSpPr>
        <p:spPr>
          <a:xfrm>
            <a:off x="11169815" y="4741141"/>
            <a:ext cx="90640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+ 15,3 %</a:t>
            </a:r>
          </a:p>
        </p:txBody>
      </p:sp>
      <p:sp>
        <p:nvSpPr>
          <p:cNvPr id="107" name="Titel 3"/>
          <p:cNvSpPr>
            <a:spLocks noGrp="1"/>
          </p:cNvSpPr>
          <p:nvPr>
            <p:ph type="title"/>
          </p:nvPr>
        </p:nvSpPr>
        <p:spPr>
          <a:xfrm>
            <a:off x="0" y="324219"/>
            <a:ext cx="6802161" cy="534368"/>
          </a:xfrm>
        </p:spPr>
        <p:txBody>
          <a:bodyPr/>
          <a:lstStyle/>
          <a:p>
            <a:pPr algn="ctr"/>
            <a:r>
              <a:rPr lang="de-AT" dirty="0"/>
              <a:t>Leistungen aus dem VF des Alters</a:t>
            </a:r>
          </a:p>
        </p:txBody>
      </p: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>
            <a:off x="8556275" y="3077632"/>
            <a:ext cx="614418" cy="1035493"/>
            <a:chOff x="7939604" y="5431146"/>
            <a:chExt cx="355595" cy="599293"/>
          </a:xfrm>
        </p:grpSpPr>
        <p:sp>
          <p:nvSpPr>
            <p:cNvPr id="92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8" name="Textfeld 97"/>
          <p:cNvSpPr txBox="1"/>
          <p:nvPr/>
        </p:nvSpPr>
        <p:spPr>
          <a:xfrm>
            <a:off x="8616763" y="3250078"/>
            <a:ext cx="4857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FF0000"/>
                </a:solidFill>
                <a:latin typeface="+mj-lt"/>
              </a:rPr>
              <a:t>63</a:t>
            </a:r>
          </a:p>
        </p:txBody>
      </p:sp>
    </p:spTree>
    <p:extLst>
      <p:ext uri="{BB962C8B-B14F-4D97-AF65-F5344CB8AC3E}">
        <p14:creationId xmlns:p14="http://schemas.microsoft.com/office/powerpoint/2010/main" val="242097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1" grpId="0"/>
      <p:bldP spid="202" grpId="0"/>
      <p:bldP spid="203" grpId="0"/>
      <p:bldP spid="205" grpId="0"/>
      <p:bldP spid="206" grpId="0"/>
      <p:bldP spid="207" grpId="0"/>
      <p:bldP spid="208" grpId="0"/>
      <p:bldP spid="209" grpId="0"/>
      <p:bldP spid="210" grpId="0"/>
      <p:bldP spid="211" grpId="0"/>
      <p:bldP spid="225" grpId="0"/>
      <p:bldP spid="226" grpId="0"/>
      <p:bldP spid="227" grpId="0"/>
      <p:bldP spid="228" grpId="0"/>
      <p:bldP spid="229" grpId="0"/>
      <p:bldP spid="23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9" name="Gerader Verbinder 108"/>
          <p:cNvCxnSpPr/>
          <p:nvPr/>
        </p:nvCxnSpPr>
        <p:spPr>
          <a:xfrm flipV="1">
            <a:off x="1006160" y="-179880"/>
            <a:ext cx="32962" cy="7210424"/>
          </a:xfrm>
          <a:prstGeom prst="line">
            <a:avLst/>
          </a:prstGeom>
          <a:ln w="76200">
            <a:solidFill>
              <a:srgbClr val="2841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186" name="Textfeld 185"/>
          <p:cNvSpPr txBox="1"/>
          <p:nvPr/>
        </p:nvSpPr>
        <p:spPr>
          <a:xfrm>
            <a:off x="1100028" y="1381764"/>
            <a:ext cx="19815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Sonderruhegeld</a:t>
            </a:r>
          </a:p>
        </p:txBody>
      </p:sp>
      <p:sp>
        <p:nvSpPr>
          <p:cNvPr id="205" name="Textfeld 204"/>
          <p:cNvSpPr txBox="1"/>
          <p:nvPr/>
        </p:nvSpPr>
        <p:spPr>
          <a:xfrm>
            <a:off x="1157990" y="2515537"/>
            <a:ext cx="23739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Schwerarbeitspension</a:t>
            </a:r>
          </a:p>
        </p:txBody>
      </p:sp>
      <p:sp>
        <p:nvSpPr>
          <p:cNvPr id="207" name="Textfeld 206"/>
          <p:cNvSpPr txBox="1"/>
          <p:nvPr/>
        </p:nvSpPr>
        <p:spPr>
          <a:xfrm>
            <a:off x="815901" y="5571914"/>
            <a:ext cx="23739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284191"/>
                </a:solidFill>
                <a:latin typeface="+mj-lt"/>
              </a:rPr>
              <a:t>Alterspension</a:t>
            </a:r>
          </a:p>
        </p:txBody>
      </p:sp>
      <p:sp>
        <p:nvSpPr>
          <p:cNvPr id="208" name="Textfeld 207"/>
          <p:cNvSpPr txBox="1"/>
          <p:nvPr/>
        </p:nvSpPr>
        <p:spPr>
          <a:xfrm>
            <a:off x="1117715" y="3739134"/>
            <a:ext cx="23739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600" dirty="0">
                <a:solidFill>
                  <a:srgbClr val="FF0000"/>
                </a:solidFill>
                <a:latin typeface="+mj-lt"/>
              </a:rPr>
              <a:t>Korridorpension</a:t>
            </a:r>
            <a:r>
              <a:rPr lang="de-AT" sz="1600" dirty="0">
                <a:solidFill>
                  <a:srgbClr val="284191"/>
                </a:solidFill>
                <a:latin typeface="+mj-lt"/>
              </a:rPr>
              <a:t> </a:t>
            </a:r>
            <a:r>
              <a:rPr lang="de-AT" sz="1600" dirty="0">
                <a:solidFill>
                  <a:srgbClr val="FF0000"/>
                </a:solidFill>
                <a:latin typeface="+mj-lt"/>
              </a:rPr>
              <a:t>NEU</a:t>
            </a:r>
          </a:p>
        </p:txBody>
      </p:sp>
      <p:sp>
        <p:nvSpPr>
          <p:cNvPr id="132" name="Textfeld 131"/>
          <p:cNvSpPr txBox="1"/>
          <p:nvPr/>
        </p:nvSpPr>
        <p:spPr>
          <a:xfrm>
            <a:off x="3695292" y="1227876"/>
            <a:ext cx="79351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rgbClr val="284191"/>
                </a:solidFill>
                <a:latin typeface="+mj-lt"/>
              </a:rPr>
              <a:t>240 NSCHG-M </a:t>
            </a:r>
            <a:r>
              <a:rPr lang="de-AT" u="sng" dirty="0">
                <a:solidFill>
                  <a:srgbClr val="284191"/>
                </a:solidFill>
                <a:latin typeface="+mj-lt"/>
              </a:rPr>
              <a:t>oder </a:t>
            </a:r>
          </a:p>
          <a:p>
            <a:r>
              <a:rPr lang="de-AT" b="1" dirty="0">
                <a:solidFill>
                  <a:srgbClr val="284191"/>
                </a:solidFill>
                <a:latin typeface="+mj-lt"/>
              </a:rPr>
              <a:t>180 </a:t>
            </a:r>
            <a:r>
              <a:rPr lang="de-AT" sz="1000" b="1" dirty="0">
                <a:solidFill>
                  <a:srgbClr val="284191"/>
                </a:solidFill>
                <a:latin typeface="+mj-lt"/>
              </a:rPr>
              <a:t>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NSCHG-M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innerhalb der letzten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30 Jahre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vor dem Stichtag</a:t>
            </a:r>
          </a:p>
        </p:txBody>
      </p:sp>
      <p:sp>
        <p:nvSpPr>
          <p:cNvPr id="133" name="Textfeld 132"/>
          <p:cNvSpPr txBox="1"/>
          <p:nvPr/>
        </p:nvSpPr>
        <p:spPr>
          <a:xfrm>
            <a:off x="3683790" y="4390238"/>
            <a:ext cx="65890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rgbClr val="284191"/>
                </a:solidFill>
                <a:latin typeface="+mj-lt"/>
              </a:rPr>
              <a:t>540 BM/Erwerbstätigkeit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1306447" y="4407658"/>
            <a:ext cx="16674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 err="1">
                <a:solidFill>
                  <a:srgbClr val="284191"/>
                </a:solidFill>
                <a:latin typeface="+mj-lt"/>
              </a:rPr>
              <a:t>Hacklerpension</a:t>
            </a:r>
            <a:endParaRPr lang="de-AT" sz="1600" dirty="0">
              <a:solidFill>
                <a:srgbClr val="284191"/>
              </a:solidFill>
              <a:latin typeface="+mj-lt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3696881" y="3664508"/>
            <a:ext cx="77907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rgbClr val="284191"/>
                </a:solidFill>
                <a:latin typeface="+mj-lt"/>
              </a:rPr>
              <a:t>480 VM </a:t>
            </a:r>
            <a:r>
              <a:rPr lang="de-AT" b="1" dirty="0">
                <a:solidFill>
                  <a:srgbClr val="FF0000"/>
                </a:solidFill>
                <a:latin typeface="+mj-lt"/>
              </a:rPr>
              <a:t>Übergangsbestimmung auf 504 VM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3675600" y="5292522"/>
            <a:ext cx="855266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rgbClr val="284191"/>
                </a:solidFill>
                <a:latin typeface="+mj-lt"/>
              </a:rPr>
              <a:t>180 BM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oder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300 VM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(ewige Anwartschaft)</a:t>
            </a:r>
          </a:p>
          <a:p>
            <a:r>
              <a:rPr lang="de-AT" b="1" dirty="0">
                <a:solidFill>
                  <a:srgbClr val="284191"/>
                </a:solidFill>
                <a:latin typeface="+mj-lt"/>
              </a:rPr>
              <a:t>180 VM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innerhalb der letzten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30 Jahre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vor dem Stichtag</a:t>
            </a:r>
          </a:p>
          <a:p>
            <a:r>
              <a:rPr lang="de-AT" b="1" dirty="0">
                <a:solidFill>
                  <a:srgbClr val="284191"/>
                </a:solidFill>
                <a:latin typeface="+mj-lt"/>
              </a:rPr>
              <a:t>180 VM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davon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84 BM/Erwerbstätigkeit (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Mindestversicherungszeit nach APG)</a:t>
            </a:r>
          </a:p>
        </p:txBody>
      </p:sp>
      <p:sp>
        <p:nvSpPr>
          <p:cNvPr id="58" name="Textfeld 57"/>
          <p:cNvSpPr txBox="1"/>
          <p:nvPr/>
        </p:nvSpPr>
        <p:spPr>
          <a:xfrm>
            <a:off x="3695292" y="2412090"/>
            <a:ext cx="77907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rgbClr val="284191"/>
                </a:solidFill>
                <a:latin typeface="+mj-lt"/>
              </a:rPr>
              <a:t>540 VM </a:t>
            </a:r>
            <a:r>
              <a:rPr lang="de-AT" u="sng" dirty="0">
                <a:solidFill>
                  <a:srgbClr val="284191"/>
                </a:solidFill>
                <a:latin typeface="+mj-lt"/>
              </a:rPr>
              <a:t>und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 innerhalb der letzten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20 Jahre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vor dem Stichtag </a:t>
            </a:r>
            <a:r>
              <a:rPr lang="de-AT" b="1" dirty="0">
                <a:solidFill>
                  <a:srgbClr val="284191"/>
                </a:solidFill>
                <a:latin typeface="+mj-lt"/>
              </a:rPr>
              <a:t>10 Jahre 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Schwerarbeit</a:t>
            </a:r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289982" y="2074452"/>
            <a:ext cx="637290" cy="1074040"/>
            <a:chOff x="7939604" y="5431146"/>
            <a:chExt cx="355595" cy="599293"/>
          </a:xfrm>
        </p:grpSpPr>
        <p:sp>
          <p:nvSpPr>
            <p:cNvPr id="61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22208" y="932783"/>
            <a:ext cx="637290" cy="1074040"/>
            <a:chOff x="7939604" y="5431146"/>
            <a:chExt cx="355595" cy="599293"/>
          </a:xfrm>
        </p:grpSpPr>
        <p:sp>
          <p:nvSpPr>
            <p:cNvPr id="68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03159" y="3325215"/>
            <a:ext cx="637290" cy="1074040"/>
            <a:chOff x="7939604" y="5431146"/>
            <a:chExt cx="355595" cy="599293"/>
          </a:xfrm>
        </p:grpSpPr>
        <p:sp>
          <p:nvSpPr>
            <p:cNvPr id="75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03158" y="5163079"/>
            <a:ext cx="637290" cy="1074040"/>
            <a:chOff x="7939604" y="5431146"/>
            <a:chExt cx="355595" cy="599293"/>
          </a:xfrm>
        </p:grpSpPr>
        <p:sp>
          <p:nvSpPr>
            <p:cNvPr id="82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9" name="Textfeld 98"/>
          <p:cNvSpPr txBox="1"/>
          <p:nvPr/>
        </p:nvSpPr>
        <p:spPr>
          <a:xfrm>
            <a:off x="170730" y="5565735"/>
            <a:ext cx="4197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284191"/>
                </a:solidFill>
                <a:latin typeface="+mj-lt"/>
              </a:rPr>
              <a:t>65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182277" y="3683481"/>
            <a:ext cx="4197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200" dirty="0">
                <a:solidFill>
                  <a:srgbClr val="FF0000"/>
                </a:solidFill>
                <a:latin typeface="+mj-lt"/>
              </a:rPr>
              <a:t>62</a:t>
            </a:r>
            <a:br>
              <a:rPr lang="de-AT" sz="1200" dirty="0">
                <a:solidFill>
                  <a:srgbClr val="FF0000"/>
                </a:solidFill>
                <a:latin typeface="+mj-lt"/>
              </a:rPr>
            </a:br>
            <a:r>
              <a:rPr lang="de-AT" sz="1200" dirty="0">
                <a:solidFill>
                  <a:srgbClr val="FF0000"/>
                </a:solidFill>
                <a:latin typeface="+mj-lt"/>
              </a:rPr>
              <a:t>63</a:t>
            </a:r>
          </a:p>
        </p:txBody>
      </p:sp>
      <p:sp>
        <p:nvSpPr>
          <p:cNvPr id="134" name="Textfeld 133"/>
          <p:cNvSpPr txBox="1"/>
          <p:nvPr/>
        </p:nvSpPr>
        <p:spPr>
          <a:xfrm>
            <a:off x="169125" y="2458783"/>
            <a:ext cx="4197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284191"/>
                </a:solidFill>
                <a:latin typeface="+mj-lt"/>
              </a:rPr>
              <a:t>60</a:t>
            </a:r>
          </a:p>
        </p:txBody>
      </p:sp>
      <p:sp>
        <p:nvSpPr>
          <p:cNvPr id="135" name="Textfeld 134"/>
          <p:cNvSpPr txBox="1"/>
          <p:nvPr/>
        </p:nvSpPr>
        <p:spPr>
          <a:xfrm>
            <a:off x="-20851" y="1278428"/>
            <a:ext cx="857143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300" dirty="0">
                <a:solidFill>
                  <a:srgbClr val="284191"/>
                </a:solidFill>
                <a:latin typeface="+mj-lt"/>
              </a:rPr>
              <a:t>52</a:t>
            </a:r>
          </a:p>
          <a:p>
            <a:pPr algn="ctr"/>
            <a:r>
              <a:rPr lang="de-AT" sz="1300" dirty="0">
                <a:solidFill>
                  <a:srgbClr val="284191"/>
                </a:solidFill>
                <a:latin typeface="+mj-lt"/>
              </a:rPr>
              <a:t>57</a:t>
            </a:r>
          </a:p>
        </p:txBody>
      </p:sp>
      <p:sp>
        <p:nvSpPr>
          <p:cNvPr id="149" name="Textfeld 148"/>
          <p:cNvSpPr txBox="1"/>
          <p:nvPr/>
        </p:nvSpPr>
        <p:spPr>
          <a:xfrm>
            <a:off x="2634201" y="2750846"/>
            <a:ext cx="612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92D050"/>
                </a:solidFill>
                <a:latin typeface="+mj-lt"/>
              </a:rPr>
              <a:t>- 9 %</a:t>
            </a:r>
          </a:p>
        </p:txBody>
      </p:sp>
      <p:sp>
        <p:nvSpPr>
          <p:cNvPr id="150" name="Textfeld 149"/>
          <p:cNvSpPr txBox="1"/>
          <p:nvPr/>
        </p:nvSpPr>
        <p:spPr>
          <a:xfrm>
            <a:off x="2225725" y="4667237"/>
            <a:ext cx="11031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92D050"/>
                </a:solidFill>
                <a:latin typeface="+mj-lt"/>
              </a:rPr>
              <a:t>- 12,6 %</a:t>
            </a:r>
          </a:p>
        </p:txBody>
      </p:sp>
      <p:sp>
        <p:nvSpPr>
          <p:cNvPr id="151" name="Textfeld 150"/>
          <p:cNvSpPr txBox="1"/>
          <p:nvPr/>
        </p:nvSpPr>
        <p:spPr>
          <a:xfrm>
            <a:off x="2344951" y="3938495"/>
            <a:ext cx="1350341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92D050"/>
                </a:solidFill>
                <a:latin typeface="+mj-lt"/>
              </a:rPr>
              <a:t>- 15,3 %</a:t>
            </a:r>
          </a:p>
          <a:p>
            <a:pPr algn="ctr"/>
            <a:r>
              <a:rPr lang="de-AT" sz="1500" dirty="0">
                <a:solidFill>
                  <a:srgbClr val="92D050"/>
                </a:solidFill>
                <a:latin typeface="+mj-lt"/>
              </a:rPr>
              <a:t>   (10,2 %)</a:t>
            </a:r>
          </a:p>
        </p:txBody>
      </p:sp>
      <p:sp>
        <p:nvSpPr>
          <p:cNvPr id="152" name="Textfeld 151"/>
          <p:cNvSpPr txBox="1"/>
          <p:nvPr/>
        </p:nvSpPr>
        <p:spPr>
          <a:xfrm>
            <a:off x="2452781" y="5776515"/>
            <a:ext cx="11031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92D050"/>
                </a:solidFill>
                <a:latin typeface="+mj-lt"/>
              </a:rPr>
              <a:t>0%</a:t>
            </a:r>
          </a:p>
        </p:txBody>
      </p:sp>
      <p:sp>
        <p:nvSpPr>
          <p:cNvPr id="153" name="Textfeld 152"/>
          <p:cNvSpPr txBox="1"/>
          <p:nvPr/>
        </p:nvSpPr>
        <p:spPr>
          <a:xfrm>
            <a:off x="2499704" y="1622065"/>
            <a:ext cx="11031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92D050"/>
                </a:solidFill>
                <a:latin typeface="+mj-lt"/>
              </a:rPr>
              <a:t>0%</a:t>
            </a:r>
          </a:p>
        </p:txBody>
      </p:sp>
      <p:sp>
        <p:nvSpPr>
          <p:cNvPr id="157" name="Titel 3"/>
          <p:cNvSpPr>
            <a:spLocks noGrp="1"/>
          </p:cNvSpPr>
          <p:nvPr>
            <p:ph type="title"/>
          </p:nvPr>
        </p:nvSpPr>
        <p:spPr>
          <a:xfrm>
            <a:off x="520967" y="239427"/>
            <a:ext cx="5718530" cy="534368"/>
          </a:xfrm>
        </p:spPr>
        <p:txBody>
          <a:bodyPr/>
          <a:lstStyle/>
          <a:p>
            <a:pPr algn="ctr"/>
            <a:r>
              <a:rPr lang="de-AT" dirty="0" err="1"/>
              <a:t>Anpruchsvoraussetzungen</a:t>
            </a:r>
            <a:endParaRPr lang="de-AT" dirty="0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0A56753A-B23F-FD50-9DBA-931412B3CF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03159" y="4011015"/>
            <a:ext cx="637290" cy="1074040"/>
            <a:chOff x="7939604" y="5431146"/>
            <a:chExt cx="355595" cy="599293"/>
          </a:xfrm>
        </p:grpSpPr>
        <p:sp>
          <p:nvSpPr>
            <p:cNvPr id="55" name="Freihandform: Form 407">
              <a:extLst>
                <a:ext uri="{FF2B5EF4-FFF2-40B4-BE49-F238E27FC236}">
                  <a16:creationId xmlns:a16="http://schemas.microsoft.com/office/drawing/2014/main" id="{882F3C4B-53B9-D3A4-FD82-464F9B8D9BB5}"/>
                </a:ext>
              </a:extLst>
            </p:cNvPr>
            <p:cNvSpPr/>
            <p:nvPr/>
          </p:nvSpPr>
          <p:spPr>
            <a:xfrm>
              <a:off x="8018836" y="5764915"/>
              <a:ext cx="197119" cy="35325"/>
            </a:xfrm>
            <a:custGeom>
              <a:avLst/>
              <a:gdLst>
                <a:gd name="connsiteX0" fmla="*/ 187207 w 197119"/>
                <a:gd name="connsiteY0" fmla="*/ 35325 h 35325"/>
                <a:gd name="connsiteX1" fmla="*/ 183611 w 197119"/>
                <a:gd name="connsiteY1" fmla="*/ 34645 h 35325"/>
                <a:gd name="connsiteX2" fmla="*/ 98566 w 197119"/>
                <a:gd name="connsiteY2" fmla="*/ 19827 h 35325"/>
                <a:gd name="connsiteX3" fmla="*/ 13515 w 197119"/>
                <a:gd name="connsiteY3" fmla="*/ 34645 h 35325"/>
                <a:gd name="connsiteX4" fmla="*/ 680 w 197119"/>
                <a:gd name="connsiteY4" fmla="*/ 29007 h 35325"/>
                <a:gd name="connsiteX5" fmla="*/ 6317 w 197119"/>
                <a:gd name="connsiteY5" fmla="*/ 16172 h 35325"/>
                <a:gd name="connsiteX6" fmla="*/ 98560 w 197119"/>
                <a:gd name="connsiteY6" fmla="*/ 0 h 35325"/>
                <a:gd name="connsiteX7" fmla="*/ 190802 w 197119"/>
                <a:gd name="connsiteY7" fmla="*/ 16172 h 35325"/>
                <a:gd name="connsiteX8" fmla="*/ 196439 w 197119"/>
                <a:gd name="connsiteY8" fmla="*/ 29007 h 35325"/>
                <a:gd name="connsiteX9" fmla="*/ 187200 w 197119"/>
                <a:gd name="connsiteY9" fmla="*/ 35325 h 3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9" h="35325">
                  <a:moveTo>
                    <a:pt x="187207" y="35325"/>
                  </a:moveTo>
                  <a:cubicBezTo>
                    <a:pt x="186010" y="35325"/>
                    <a:pt x="184794" y="35107"/>
                    <a:pt x="183611" y="34645"/>
                  </a:cubicBezTo>
                  <a:cubicBezTo>
                    <a:pt x="158722" y="24949"/>
                    <a:pt x="129311" y="19827"/>
                    <a:pt x="98566" y="19827"/>
                  </a:cubicBezTo>
                  <a:cubicBezTo>
                    <a:pt x="67821" y="19827"/>
                    <a:pt x="38411" y="24949"/>
                    <a:pt x="13515" y="34645"/>
                  </a:cubicBezTo>
                  <a:cubicBezTo>
                    <a:pt x="8412" y="36634"/>
                    <a:pt x="2669" y="34109"/>
                    <a:pt x="680" y="29007"/>
                  </a:cubicBezTo>
                  <a:cubicBezTo>
                    <a:pt x="-1309" y="23905"/>
                    <a:pt x="1215" y="18162"/>
                    <a:pt x="6317" y="16172"/>
                  </a:cubicBezTo>
                  <a:cubicBezTo>
                    <a:pt x="33480" y="5591"/>
                    <a:pt x="65376" y="0"/>
                    <a:pt x="98560" y="0"/>
                  </a:cubicBezTo>
                  <a:cubicBezTo>
                    <a:pt x="131744" y="0"/>
                    <a:pt x="163639" y="5591"/>
                    <a:pt x="190802" y="16172"/>
                  </a:cubicBezTo>
                  <a:cubicBezTo>
                    <a:pt x="195904" y="18162"/>
                    <a:pt x="198429" y="23905"/>
                    <a:pt x="196439" y="29007"/>
                  </a:cubicBezTo>
                  <a:cubicBezTo>
                    <a:pt x="194913" y="32926"/>
                    <a:pt x="191165" y="35325"/>
                    <a:pt x="187200" y="35325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408">
              <a:extLst>
                <a:ext uri="{FF2B5EF4-FFF2-40B4-BE49-F238E27FC236}">
                  <a16:creationId xmlns:a16="http://schemas.microsoft.com/office/drawing/2014/main" id="{6D49F05B-9690-9D1C-77D3-C04B878D6BA2}"/>
                </a:ext>
              </a:extLst>
            </p:cNvPr>
            <p:cNvSpPr/>
            <p:nvPr/>
          </p:nvSpPr>
          <p:spPr>
            <a:xfrm>
              <a:off x="7953623" y="5845668"/>
              <a:ext cx="327543" cy="184771"/>
            </a:xfrm>
            <a:custGeom>
              <a:avLst/>
              <a:gdLst>
                <a:gd name="connsiteX0" fmla="*/ 163772 w 327543"/>
                <a:gd name="connsiteY0" fmla="*/ 184772 h 184771"/>
                <a:gd name="connsiteX1" fmla="*/ 50189 w 327543"/>
                <a:gd name="connsiteY1" fmla="*/ 158686 h 184771"/>
                <a:gd name="connsiteX2" fmla="*/ 0 w 327543"/>
                <a:gd name="connsiteY2" fmla="*/ 90005 h 184771"/>
                <a:gd name="connsiteX3" fmla="*/ 31499 w 327543"/>
                <a:gd name="connsiteY3" fmla="*/ 33617 h 184771"/>
                <a:gd name="connsiteX4" fmla="*/ 45424 w 327543"/>
                <a:gd name="connsiteY4" fmla="*/ 35269 h 184771"/>
                <a:gd name="connsiteX5" fmla="*/ 43772 w 327543"/>
                <a:gd name="connsiteY5" fmla="*/ 49194 h 184771"/>
                <a:gd name="connsiteX6" fmla="*/ 19827 w 327543"/>
                <a:gd name="connsiteY6" fmla="*/ 90005 h 184771"/>
                <a:gd name="connsiteX7" fmla="*/ 59765 w 327543"/>
                <a:gd name="connsiteY7" fmla="*/ 141324 h 184771"/>
                <a:gd name="connsiteX8" fmla="*/ 163772 w 327543"/>
                <a:gd name="connsiteY8" fmla="*/ 164945 h 184771"/>
                <a:gd name="connsiteX9" fmla="*/ 267778 w 327543"/>
                <a:gd name="connsiteY9" fmla="*/ 141324 h 184771"/>
                <a:gd name="connsiteX10" fmla="*/ 307716 w 327543"/>
                <a:gd name="connsiteY10" fmla="*/ 90005 h 184771"/>
                <a:gd name="connsiteX11" fmla="*/ 282629 w 327543"/>
                <a:gd name="connsiteY11" fmla="*/ 48308 h 184771"/>
                <a:gd name="connsiteX12" fmla="*/ 212850 w 327543"/>
                <a:gd name="connsiteY12" fmla="*/ 19652 h 184771"/>
                <a:gd name="connsiteX13" fmla="*/ 204999 w 327543"/>
                <a:gd name="connsiteY13" fmla="*/ 8033 h 184771"/>
                <a:gd name="connsiteX14" fmla="*/ 216618 w 327543"/>
                <a:gd name="connsiteY14" fmla="*/ 182 h 184771"/>
                <a:gd name="connsiteX15" fmla="*/ 294677 w 327543"/>
                <a:gd name="connsiteY15" fmla="*/ 32553 h 184771"/>
                <a:gd name="connsiteX16" fmla="*/ 327544 w 327543"/>
                <a:gd name="connsiteY16" fmla="*/ 89998 h 184771"/>
                <a:gd name="connsiteX17" fmla="*/ 277355 w 327543"/>
                <a:gd name="connsiteY17" fmla="*/ 158679 h 184771"/>
                <a:gd name="connsiteX18" fmla="*/ 163772 w 327543"/>
                <a:gd name="connsiteY18" fmla="*/ 184765 h 18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7543" h="184771">
                  <a:moveTo>
                    <a:pt x="163772" y="184772"/>
                  </a:moveTo>
                  <a:cubicBezTo>
                    <a:pt x="121031" y="184772"/>
                    <a:pt x="80690" y="175506"/>
                    <a:pt x="50189" y="158686"/>
                  </a:cubicBezTo>
                  <a:cubicBezTo>
                    <a:pt x="17825" y="140835"/>
                    <a:pt x="0" y="116448"/>
                    <a:pt x="0" y="90005"/>
                  </a:cubicBezTo>
                  <a:cubicBezTo>
                    <a:pt x="0" y="69352"/>
                    <a:pt x="10892" y="49855"/>
                    <a:pt x="31499" y="33617"/>
                  </a:cubicBezTo>
                  <a:cubicBezTo>
                    <a:pt x="35801" y="30226"/>
                    <a:pt x="42033" y="30966"/>
                    <a:pt x="45424" y="35269"/>
                  </a:cubicBezTo>
                  <a:cubicBezTo>
                    <a:pt x="48814" y="39571"/>
                    <a:pt x="48074" y="45804"/>
                    <a:pt x="43772" y="49194"/>
                  </a:cubicBezTo>
                  <a:cubicBezTo>
                    <a:pt x="32847" y="57799"/>
                    <a:pt x="19827" y="71870"/>
                    <a:pt x="19827" y="90005"/>
                  </a:cubicBezTo>
                  <a:cubicBezTo>
                    <a:pt x="19827" y="108140"/>
                    <a:pt x="34010" y="127121"/>
                    <a:pt x="59765" y="141324"/>
                  </a:cubicBezTo>
                  <a:cubicBezTo>
                    <a:pt x="87385" y="156558"/>
                    <a:pt x="124322" y="164945"/>
                    <a:pt x="163772" y="164945"/>
                  </a:cubicBezTo>
                  <a:cubicBezTo>
                    <a:pt x="203221" y="164945"/>
                    <a:pt x="240159" y="156558"/>
                    <a:pt x="267778" y="141324"/>
                  </a:cubicBezTo>
                  <a:cubicBezTo>
                    <a:pt x="293533" y="127121"/>
                    <a:pt x="307716" y="108893"/>
                    <a:pt x="307716" y="90005"/>
                  </a:cubicBezTo>
                  <a:cubicBezTo>
                    <a:pt x="307716" y="71116"/>
                    <a:pt x="294075" y="57059"/>
                    <a:pt x="282629" y="48308"/>
                  </a:cubicBezTo>
                  <a:cubicBezTo>
                    <a:pt x="265531" y="35229"/>
                    <a:pt x="240747" y="25051"/>
                    <a:pt x="212850" y="19652"/>
                  </a:cubicBezTo>
                  <a:cubicBezTo>
                    <a:pt x="207477" y="18614"/>
                    <a:pt x="203961" y="13413"/>
                    <a:pt x="204999" y="8033"/>
                  </a:cubicBezTo>
                  <a:cubicBezTo>
                    <a:pt x="206037" y="2660"/>
                    <a:pt x="211238" y="-856"/>
                    <a:pt x="216618" y="182"/>
                  </a:cubicBezTo>
                  <a:cubicBezTo>
                    <a:pt x="247911" y="6235"/>
                    <a:pt x="274909" y="17431"/>
                    <a:pt x="294677" y="32553"/>
                  </a:cubicBezTo>
                  <a:cubicBezTo>
                    <a:pt x="316176" y="48996"/>
                    <a:pt x="327544" y="68863"/>
                    <a:pt x="327544" y="89998"/>
                  </a:cubicBezTo>
                  <a:cubicBezTo>
                    <a:pt x="327544" y="116441"/>
                    <a:pt x="309719" y="140828"/>
                    <a:pt x="277355" y="158679"/>
                  </a:cubicBezTo>
                  <a:cubicBezTo>
                    <a:pt x="246854" y="175499"/>
                    <a:pt x="206512" y="184765"/>
                    <a:pt x="163772" y="184765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409">
              <a:extLst>
                <a:ext uri="{FF2B5EF4-FFF2-40B4-BE49-F238E27FC236}">
                  <a16:creationId xmlns:a16="http://schemas.microsoft.com/office/drawing/2014/main" id="{BB54B5F2-F4E6-6E73-5604-246CD96B0468}"/>
                </a:ext>
              </a:extLst>
            </p:cNvPr>
            <p:cNvSpPr/>
            <p:nvPr/>
          </p:nvSpPr>
          <p:spPr>
            <a:xfrm>
              <a:off x="8014194" y="5845984"/>
              <a:ext cx="60569" cy="32130"/>
            </a:xfrm>
            <a:custGeom>
              <a:avLst/>
              <a:gdLst>
                <a:gd name="connsiteX0" fmla="*/ 9921 w 60569"/>
                <a:gd name="connsiteY0" fmla="*/ 32124 h 32130"/>
                <a:gd name="connsiteX1" fmla="*/ 781 w 60569"/>
                <a:gd name="connsiteY1" fmla="*/ 26057 h 32130"/>
                <a:gd name="connsiteX2" fmla="*/ 6068 w 60569"/>
                <a:gd name="connsiteY2" fmla="*/ 13070 h 32130"/>
                <a:gd name="connsiteX3" fmla="*/ 48709 w 60569"/>
                <a:gd name="connsiteY3" fmla="*/ 196 h 32130"/>
                <a:gd name="connsiteX4" fmla="*/ 60374 w 60569"/>
                <a:gd name="connsiteY4" fmla="*/ 7968 h 32130"/>
                <a:gd name="connsiteX5" fmla="*/ 52602 w 60569"/>
                <a:gd name="connsiteY5" fmla="*/ 19639 h 32130"/>
                <a:gd name="connsiteX6" fmla="*/ 13761 w 60569"/>
                <a:gd name="connsiteY6" fmla="*/ 31351 h 32130"/>
                <a:gd name="connsiteX7" fmla="*/ 9914 w 60569"/>
                <a:gd name="connsiteY7" fmla="*/ 32130 h 3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69" h="32130">
                  <a:moveTo>
                    <a:pt x="9921" y="32124"/>
                  </a:moveTo>
                  <a:cubicBezTo>
                    <a:pt x="6055" y="32124"/>
                    <a:pt x="2374" y="29844"/>
                    <a:pt x="781" y="26057"/>
                  </a:cubicBezTo>
                  <a:cubicBezTo>
                    <a:pt x="-1347" y="21014"/>
                    <a:pt x="1025" y="15198"/>
                    <a:pt x="6068" y="13070"/>
                  </a:cubicBezTo>
                  <a:cubicBezTo>
                    <a:pt x="19088" y="7584"/>
                    <a:pt x="33436" y="3256"/>
                    <a:pt x="48709" y="196"/>
                  </a:cubicBezTo>
                  <a:cubicBezTo>
                    <a:pt x="54076" y="-882"/>
                    <a:pt x="59304" y="2601"/>
                    <a:pt x="60374" y="7968"/>
                  </a:cubicBezTo>
                  <a:cubicBezTo>
                    <a:pt x="61452" y="13334"/>
                    <a:pt x="57969" y="18562"/>
                    <a:pt x="52602" y="19639"/>
                  </a:cubicBezTo>
                  <a:cubicBezTo>
                    <a:pt x="38631" y="22442"/>
                    <a:pt x="25565" y="26380"/>
                    <a:pt x="13761" y="31351"/>
                  </a:cubicBezTo>
                  <a:cubicBezTo>
                    <a:pt x="12505" y="31879"/>
                    <a:pt x="11203" y="32130"/>
                    <a:pt x="9914" y="32130"/>
                  </a:cubicBezTo>
                  <a:close/>
                </a:path>
              </a:pathLst>
            </a:custGeom>
            <a:solidFill>
              <a:srgbClr val="96AAD7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410">
              <a:extLst>
                <a:ext uri="{FF2B5EF4-FFF2-40B4-BE49-F238E27FC236}">
                  <a16:creationId xmlns:a16="http://schemas.microsoft.com/office/drawing/2014/main" id="{5A8F917F-18AD-D162-B1F0-365B53659B57}"/>
                </a:ext>
              </a:extLst>
            </p:cNvPr>
            <p:cNvSpPr/>
            <p:nvPr/>
          </p:nvSpPr>
          <p:spPr>
            <a:xfrm>
              <a:off x="7939604" y="5431146"/>
              <a:ext cx="355595" cy="510970"/>
            </a:xfrm>
            <a:custGeom>
              <a:avLst/>
              <a:gdLst>
                <a:gd name="connsiteX0" fmla="*/ 177798 w 355595"/>
                <a:gd name="connsiteY0" fmla="*/ 510971 h 510970"/>
                <a:gd name="connsiteX1" fmla="*/ 159114 w 355595"/>
                <a:gd name="connsiteY1" fmla="*/ 500185 h 510970"/>
                <a:gd name="connsiteX2" fmla="*/ 24065 w 355595"/>
                <a:gd name="connsiteY2" fmla="*/ 266271 h 510970"/>
                <a:gd name="connsiteX3" fmla="*/ 24065 w 355595"/>
                <a:gd name="connsiteY3" fmla="*/ 88759 h 510970"/>
                <a:gd name="connsiteX4" fmla="*/ 177798 w 355595"/>
                <a:gd name="connsiteY4" fmla="*/ 0 h 510970"/>
                <a:gd name="connsiteX5" fmla="*/ 331530 w 355595"/>
                <a:gd name="connsiteY5" fmla="*/ 88759 h 510970"/>
                <a:gd name="connsiteX6" fmla="*/ 331530 w 355595"/>
                <a:gd name="connsiteY6" fmla="*/ 266271 h 510970"/>
                <a:gd name="connsiteX7" fmla="*/ 317903 w 355595"/>
                <a:gd name="connsiteY7" fmla="*/ 289879 h 510970"/>
                <a:gd name="connsiteX8" fmla="*/ 304361 w 355595"/>
                <a:gd name="connsiteY8" fmla="*/ 293507 h 510970"/>
                <a:gd name="connsiteX9" fmla="*/ 300732 w 355595"/>
                <a:gd name="connsiteY9" fmla="*/ 279965 h 510970"/>
                <a:gd name="connsiteX10" fmla="*/ 314360 w 355595"/>
                <a:gd name="connsiteY10" fmla="*/ 256358 h 510970"/>
                <a:gd name="connsiteX11" fmla="*/ 314360 w 355595"/>
                <a:gd name="connsiteY11" fmla="*/ 98673 h 510970"/>
                <a:gd name="connsiteX12" fmla="*/ 177798 w 355595"/>
                <a:gd name="connsiteY12" fmla="*/ 19827 h 510970"/>
                <a:gd name="connsiteX13" fmla="*/ 41235 w 355595"/>
                <a:gd name="connsiteY13" fmla="*/ 98673 h 510970"/>
                <a:gd name="connsiteX14" fmla="*/ 41235 w 355595"/>
                <a:gd name="connsiteY14" fmla="*/ 256358 h 510970"/>
                <a:gd name="connsiteX15" fmla="*/ 176284 w 355595"/>
                <a:gd name="connsiteY15" fmla="*/ 490271 h 510970"/>
                <a:gd name="connsiteX16" fmla="*/ 177798 w 355595"/>
                <a:gd name="connsiteY16" fmla="*/ 491143 h 510970"/>
                <a:gd name="connsiteX17" fmla="*/ 179305 w 355595"/>
                <a:gd name="connsiteY17" fmla="*/ 490271 h 510970"/>
                <a:gd name="connsiteX18" fmla="*/ 272261 w 355595"/>
                <a:gd name="connsiteY18" fmla="*/ 329268 h 510970"/>
                <a:gd name="connsiteX19" fmla="*/ 285803 w 355595"/>
                <a:gd name="connsiteY19" fmla="*/ 325640 h 510970"/>
                <a:gd name="connsiteX20" fmla="*/ 289431 w 355595"/>
                <a:gd name="connsiteY20" fmla="*/ 339182 h 510970"/>
                <a:gd name="connsiteX21" fmla="*/ 196475 w 355595"/>
                <a:gd name="connsiteY21" fmla="*/ 500185 h 510970"/>
                <a:gd name="connsiteX22" fmla="*/ 177798 w 355595"/>
                <a:gd name="connsiteY22" fmla="*/ 510971 h 51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5595" h="510970">
                  <a:moveTo>
                    <a:pt x="177798" y="510971"/>
                  </a:moveTo>
                  <a:cubicBezTo>
                    <a:pt x="169999" y="510971"/>
                    <a:pt x="163013" y="506939"/>
                    <a:pt x="159114" y="500185"/>
                  </a:cubicBezTo>
                  <a:lnTo>
                    <a:pt x="24065" y="266271"/>
                  </a:lnTo>
                  <a:cubicBezTo>
                    <a:pt x="-8022" y="210696"/>
                    <a:pt x="-8022" y="144335"/>
                    <a:pt x="24065" y="88759"/>
                  </a:cubicBezTo>
                  <a:cubicBezTo>
                    <a:pt x="56152" y="33184"/>
                    <a:pt x="113624" y="0"/>
                    <a:pt x="177798" y="0"/>
                  </a:cubicBezTo>
                  <a:cubicBezTo>
                    <a:pt x="241971" y="0"/>
                    <a:pt x="299444" y="33177"/>
                    <a:pt x="331530" y="88759"/>
                  </a:cubicBezTo>
                  <a:cubicBezTo>
                    <a:pt x="363617" y="144341"/>
                    <a:pt x="363617" y="210696"/>
                    <a:pt x="331530" y="266271"/>
                  </a:cubicBezTo>
                  <a:lnTo>
                    <a:pt x="317903" y="289879"/>
                  </a:lnTo>
                  <a:cubicBezTo>
                    <a:pt x="315166" y="294617"/>
                    <a:pt x="309099" y="296243"/>
                    <a:pt x="304361" y="293507"/>
                  </a:cubicBezTo>
                  <a:cubicBezTo>
                    <a:pt x="299622" y="290771"/>
                    <a:pt x="297996" y="284704"/>
                    <a:pt x="300732" y="279965"/>
                  </a:cubicBezTo>
                  <a:lnTo>
                    <a:pt x="314360" y="256358"/>
                  </a:lnTo>
                  <a:cubicBezTo>
                    <a:pt x="342865" y="206988"/>
                    <a:pt x="342865" y="148042"/>
                    <a:pt x="314360" y="98673"/>
                  </a:cubicBezTo>
                  <a:cubicBezTo>
                    <a:pt x="285855" y="49303"/>
                    <a:pt x="234807" y="19827"/>
                    <a:pt x="177798" y="19827"/>
                  </a:cubicBezTo>
                  <a:cubicBezTo>
                    <a:pt x="120788" y="19827"/>
                    <a:pt x="69740" y="49303"/>
                    <a:pt x="41235" y="98673"/>
                  </a:cubicBezTo>
                  <a:cubicBezTo>
                    <a:pt x="12731" y="148042"/>
                    <a:pt x="12731" y="206988"/>
                    <a:pt x="41235" y="256358"/>
                  </a:cubicBezTo>
                  <a:lnTo>
                    <a:pt x="176284" y="490271"/>
                  </a:lnTo>
                  <a:cubicBezTo>
                    <a:pt x="176621" y="490853"/>
                    <a:pt x="177130" y="491143"/>
                    <a:pt x="177798" y="491143"/>
                  </a:cubicBezTo>
                  <a:cubicBezTo>
                    <a:pt x="178465" y="491143"/>
                    <a:pt x="178974" y="490853"/>
                    <a:pt x="179305" y="490271"/>
                  </a:cubicBezTo>
                  <a:lnTo>
                    <a:pt x="272261" y="329268"/>
                  </a:lnTo>
                  <a:cubicBezTo>
                    <a:pt x="274997" y="324530"/>
                    <a:pt x="281064" y="322904"/>
                    <a:pt x="285803" y="325640"/>
                  </a:cubicBezTo>
                  <a:cubicBezTo>
                    <a:pt x="290541" y="328376"/>
                    <a:pt x="292167" y="334443"/>
                    <a:pt x="289431" y="339182"/>
                  </a:cubicBezTo>
                  <a:lnTo>
                    <a:pt x="196475" y="500185"/>
                  </a:lnTo>
                  <a:cubicBezTo>
                    <a:pt x="192576" y="506939"/>
                    <a:pt x="185596" y="510971"/>
                    <a:pt x="177798" y="510971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411">
              <a:extLst>
                <a:ext uri="{FF2B5EF4-FFF2-40B4-BE49-F238E27FC236}">
                  <a16:creationId xmlns:a16="http://schemas.microsoft.com/office/drawing/2014/main" id="{634E79F9-384C-2B20-AD9A-1E1517E5B922}"/>
                </a:ext>
              </a:extLst>
            </p:cNvPr>
            <p:cNvSpPr/>
            <p:nvPr/>
          </p:nvSpPr>
          <p:spPr>
            <a:xfrm>
              <a:off x="8004460" y="5485657"/>
              <a:ext cx="230284" cy="234680"/>
            </a:xfrm>
            <a:custGeom>
              <a:avLst/>
              <a:gdLst>
                <a:gd name="connsiteX0" fmla="*/ 112935 w 230284"/>
                <a:gd name="connsiteY0" fmla="*/ 234680 h 234680"/>
                <a:gd name="connsiteX1" fmla="*/ 46897 w 230284"/>
                <a:gd name="connsiteY1" fmla="*/ 214344 h 234680"/>
                <a:gd name="connsiteX2" fmla="*/ 4421 w 230284"/>
                <a:gd name="connsiteY2" fmla="*/ 162053 h 234680"/>
                <a:gd name="connsiteX3" fmla="*/ 9808 w 230284"/>
                <a:gd name="connsiteY3" fmla="*/ 149106 h 234680"/>
                <a:gd name="connsiteX4" fmla="*/ 22755 w 230284"/>
                <a:gd name="connsiteY4" fmla="*/ 154493 h 234680"/>
                <a:gd name="connsiteX5" fmla="*/ 112942 w 230284"/>
                <a:gd name="connsiteY5" fmla="*/ 214853 h 234680"/>
                <a:gd name="connsiteX6" fmla="*/ 210458 w 230284"/>
                <a:gd name="connsiteY6" fmla="*/ 117343 h 234680"/>
                <a:gd name="connsiteX7" fmla="*/ 112942 w 230284"/>
                <a:gd name="connsiteY7" fmla="*/ 19827 h 234680"/>
                <a:gd name="connsiteX8" fmla="*/ 19424 w 230284"/>
                <a:gd name="connsiteY8" fmla="*/ 89618 h 234680"/>
                <a:gd name="connsiteX9" fmla="*/ 7105 w 230284"/>
                <a:gd name="connsiteY9" fmla="*/ 96313 h 234680"/>
                <a:gd name="connsiteX10" fmla="*/ 410 w 230284"/>
                <a:gd name="connsiteY10" fmla="*/ 83994 h 234680"/>
                <a:gd name="connsiteX11" fmla="*/ 42099 w 230284"/>
                <a:gd name="connsiteY11" fmla="*/ 23793 h 234680"/>
                <a:gd name="connsiteX12" fmla="*/ 112942 w 230284"/>
                <a:gd name="connsiteY12" fmla="*/ 0 h 234680"/>
                <a:gd name="connsiteX13" fmla="*/ 230285 w 230284"/>
                <a:gd name="connsiteY13" fmla="*/ 117343 h 234680"/>
                <a:gd name="connsiteX14" fmla="*/ 112942 w 230284"/>
                <a:gd name="connsiteY14" fmla="*/ 234680 h 23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284" h="234680">
                  <a:moveTo>
                    <a:pt x="112935" y="234680"/>
                  </a:moveTo>
                  <a:cubicBezTo>
                    <a:pt x="89235" y="234680"/>
                    <a:pt x="66401" y="227648"/>
                    <a:pt x="46897" y="214344"/>
                  </a:cubicBezTo>
                  <a:cubicBezTo>
                    <a:pt x="27863" y="201364"/>
                    <a:pt x="13178" y="183282"/>
                    <a:pt x="4421" y="162053"/>
                  </a:cubicBezTo>
                  <a:cubicBezTo>
                    <a:pt x="2333" y="156991"/>
                    <a:pt x="4745" y="151195"/>
                    <a:pt x="9808" y="149106"/>
                  </a:cubicBezTo>
                  <a:cubicBezTo>
                    <a:pt x="14870" y="147018"/>
                    <a:pt x="20666" y="149430"/>
                    <a:pt x="22755" y="154493"/>
                  </a:cubicBezTo>
                  <a:cubicBezTo>
                    <a:pt x="37876" y="191160"/>
                    <a:pt x="73281" y="214853"/>
                    <a:pt x="112942" y="214853"/>
                  </a:cubicBezTo>
                  <a:cubicBezTo>
                    <a:pt x="166713" y="214853"/>
                    <a:pt x="210458" y="171108"/>
                    <a:pt x="210458" y="117343"/>
                  </a:cubicBezTo>
                  <a:cubicBezTo>
                    <a:pt x="210458" y="63579"/>
                    <a:pt x="166713" y="19827"/>
                    <a:pt x="112942" y="19827"/>
                  </a:cubicBezTo>
                  <a:cubicBezTo>
                    <a:pt x="70036" y="19827"/>
                    <a:pt x="31578" y="48530"/>
                    <a:pt x="19424" y="89618"/>
                  </a:cubicBezTo>
                  <a:cubicBezTo>
                    <a:pt x="17871" y="94866"/>
                    <a:pt x="12352" y="97867"/>
                    <a:pt x="7105" y="96313"/>
                  </a:cubicBezTo>
                  <a:cubicBezTo>
                    <a:pt x="1857" y="94760"/>
                    <a:pt x="-1144" y="89242"/>
                    <a:pt x="410" y="83994"/>
                  </a:cubicBezTo>
                  <a:cubicBezTo>
                    <a:pt x="7442" y="60221"/>
                    <a:pt x="22246" y="38841"/>
                    <a:pt x="42099" y="23793"/>
                  </a:cubicBezTo>
                  <a:cubicBezTo>
                    <a:pt x="62620" y="8228"/>
                    <a:pt x="87120" y="0"/>
                    <a:pt x="112942" y="0"/>
                  </a:cubicBezTo>
                  <a:cubicBezTo>
                    <a:pt x="177644" y="0"/>
                    <a:pt x="230285" y="52641"/>
                    <a:pt x="230285" y="117343"/>
                  </a:cubicBezTo>
                  <a:cubicBezTo>
                    <a:pt x="230285" y="182046"/>
                    <a:pt x="177644" y="234680"/>
                    <a:pt x="112942" y="234680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412">
              <a:extLst>
                <a:ext uri="{FF2B5EF4-FFF2-40B4-BE49-F238E27FC236}">
                  <a16:creationId xmlns:a16="http://schemas.microsoft.com/office/drawing/2014/main" id="{3D4BE10A-7FA2-6562-B363-2D0C0BC0DE74}"/>
                </a:ext>
              </a:extLst>
            </p:cNvPr>
            <p:cNvSpPr/>
            <p:nvPr/>
          </p:nvSpPr>
          <p:spPr>
            <a:xfrm>
              <a:off x="8001739" y="5562547"/>
              <a:ext cx="22547" cy="31313"/>
            </a:xfrm>
            <a:custGeom>
              <a:avLst/>
              <a:gdLst>
                <a:gd name="connsiteX0" fmla="*/ 9925 w 22547"/>
                <a:gd name="connsiteY0" fmla="*/ 31313 h 31313"/>
                <a:gd name="connsiteX1" fmla="*/ 8167 w 22547"/>
                <a:gd name="connsiteY1" fmla="*/ 31155 h 31313"/>
                <a:gd name="connsiteX2" fmla="*/ 157 w 22547"/>
                <a:gd name="connsiteY2" fmla="*/ 19648 h 31313"/>
                <a:gd name="connsiteX3" fmla="*/ 3124 w 22547"/>
                <a:gd name="connsiteY3" fmla="*/ 7105 h 31313"/>
                <a:gd name="connsiteX4" fmla="*/ 15443 w 22547"/>
                <a:gd name="connsiteY4" fmla="*/ 410 h 31313"/>
                <a:gd name="connsiteX5" fmla="*/ 22138 w 22547"/>
                <a:gd name="connsiteY5" fmla="*/ 12729 h 31313"/>
                <a:gd name="connsiteX6" fmla="*/ 19673 w 22547"/>
                <a:gd name="connsiteY6" fmla="*/ 23138 h 31313"/>
                <a:gd name="connsiteX7" fmla="*/ 9925 w 22547"/>
                <a:gd name="connsiteY7" fmla="*/ 31307 h 3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47" h="31313">
                  <a:moveTo>
                    <a:pt x="9925" y="31313"/>
                  </a:moveTo>
                  <a:cubicBezTo>
                    <a:pt x="9343" y="31313"/>
                    <a:pt x="8755" y="31260"/>
                    <a:pt x="8167" y="31155"/>
                  </a:cubicBezTo>
                  <a:cubicBezTo>
                    <a:pt x="2781" y="30190"/>
                    <a:pt x="-808" y="25041"/>
                    <a:pt x="157" y="19648"/>
                  </a:cubicBezTo>
                  <a:cubicBezTo>
                    <a:pt x="910" y="15432"/>
                    <a:pt x="1908" y="11209"/>
                    <a:pt x="3124" y="7105"/>
                  </a:cubicBezTo>
                  <a:cubicBezTo>
                    <a:pt x="4677" y="1857"/>
                    <a:pt x="10196" y="-1144"/>
                    <a:pt x="15443" y="410"/>
                  </a:cubicBezTo>
                  <a:cubicBezTo>
                    <a:pt x="20691" y="1963"/>
                    <a:pt x="23692" y="7481"/>
                    <a:pt x="22138" y="12729"/>
                  </a:cubicBezTo>
                  <a:cubicBezTo>
                    <a:pt x="21134" y="16132"/>
                    <a:pt x="20301" y="19635"/>
                    <a:pt x="19673" y="23138"/>
                  </a:cubicBezTo>
                  <a:cubicBezTo>
                    <a:pt x="18814" y="27936"/>
                    <a:pt x="14637" y="31307"/>
                    <a:pt x="9925" y="31307"/>
                  </a:cubicBezTo>
                  <a:close/>
                </a:path>
              </a:pathLst>
            </a:custGeom>
            <a:solidFill>
              <a:srgbClr val="284191"/>
            </a:solidFill>
            <a:ln w="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2" name="Textfeld 91"/>
          <p:cNvSpPr txBox="1"/>
          <p:nvPr/>
        </p:nvSpPr>
        <p:spPr>
          <a:xfrm>
            <a:off x="170187" y="4406269"/>
            <a:ext cx="4197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284191"/>
                </a:solidFill>
                <a:latin typeface="+mj-lt"/>
              </a:rPr>
              <a:t>62</a:t>
            </a:r>
          </a:p>
        </p:txBody>
      </p:sp>
    </p:spTree>
    <p:extLst>
      <p:ext uri="{BB962C8B-B14F-4D97-AF65-F5344CB8AC3E}">
        <p14:creationId xmlns:p14="http://schemas.microsoft.com/office/powerpoint/2010/main" val="590561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/>
      <p:bldP spid="133" grpId="0"/>
      <p:bldP spid="56" grpId="0"/>
      <p:bldP spid="57" grpId="0"/>
      <p:bldP spid="58" grpId="0"/>
      <p:bldP spid="149" grpId="0"/>
      <p:bldP spid="150" grpId="0"/>
      <p:bldP spid="151" grpId="0"/>
      <p:bldP spid="152" grpId="0"/>
      <p:bldP spid="15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8481" y="-47626"/>
            <a:ext cx="11915775" cy="6905625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186" name="Textfeld 185"/>
          <p:cNvSpPr txBox="1"/>
          <p:nvPr/>
        </p:nvSpPr>
        <p:spPr>
          <a:xfrm>
            <a:off x="2903735" y="1903121"/>
            <a:ext cx="24299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>
                <a:solidFill>
                  <a:srgbClr val="284191"/>
                </a:solidFill>
                <a:latin typeface="+mj-lt"/>
              </a:rPr>
              <a:t>Sonderruhegeld</a:t>
            </a:r>
          </a:p>
        </p:txBody>
      </p:sp>
      <p:sp>
        <p:nvSpPr>
          <p:cNvPr id="205" name="Textfeld 204"/>
          <p:cNvSpPr txBox="1"/>
          <p:nvPr/>
        </p:nvSpPr>
        <p:spPr>
          <a:xfrm>
            <a:off x="2908062" y="2428848"/>
            <a:ext cx="291111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>
                <a:solidFill>
                  <a:srgbClr val="284191"/>
                </a:solidFill>
                <a:latin typeface="+mj-lt"/>
              </a:rPr>
              <a:t>Schwerarbeitspension</a:t>
            </a:r>
          </a:p>
        </p:txBody>
      </p:sp>
      <p:sp>
        <p:nvSpPr>
          <p:cNvPr id="207" name="Textfeld 206"/>
          <p:cNvSpPr txBox="1"/>
          <p:nvPr/>
        </p:nvSpPr>
        <p:spPr>
          <a:xfrm>
            <a:off x="2956136" y="4699174"/>
            <a:ext cx="291111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>
                <a:solidFill>
                  <a:srgbClr val="284191"/>
                </a:solidFill>
                <a:latin typeface="+mj-lt"/>
              </a:rPr>
              <a:t>Alterspension</a:t>
            </a:r>
          </a:p>
        </p:txBody>
      </p:sp>
      <p:sp>
        <p:nvSpPr>
          <p:cNvPr id="208" name="Textfeld 207"/>
          <p:cNvSpPr txBox="1"/>
          <p:nvPr/>
        </p:nvSpPr>
        <p:spPr>
          <a:xfrm>
            <a:off x="2908061" y="3007015"/>
            <a:ext cx="291111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>
                <a:solidFill>
                  <a:srgbClr val="284191"/>
                </a:solidFill>
                <a:latin typeface="+mj-lt"/>
              </a:rPr>
              <a:t>Korridorpension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2908061" y="3578269"/>
            <a:ext cx="20447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 err="1">
                <a:solidFill>
                  <a:srgbClr val="284191"/>
                </a:solidFill>
                <a:latin typeface="+mj-lt"/>
              </a:rPr>
              <a:t>Hacklerpension</a:t>
            </a:r>
            <a:endParaRPr lang="de-AT" sz="2000" dirty="0">
              <a:solidFill>
                <a:srgbClr val="284191"/>
              </a:solidFill>
              <a:latin typeface="+mj-lt"/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5899407" y="2175761"/>
            <a:ext cx="639185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dirty="0">
                <a:solidFill>
                  <a:srgbClr val="284191"/>
                </a:solidFill>
                <a:latin typeface="+mj-lt"/>
              </a:rPr>
              <a:t>am Stichtag… </a:t>
            </a:r>
          </a:p>
          <a:p>
            <a:r>
              <a:rPr lang="de-AT" dirty="0">
                <a:solidFill>
                  <a:srgbClr val="284191"/>
                </a:solidFill>
                <a:latin typeface="+mj-lt"/>
              </a:rPr>
              <a:t>keine Pflichtversicherung, auch nicht BSVG</a:t>
            </a:r>
          </a:p>
          <a:p>
            <a:r>
              <a:rPr lang="de-AT" dirty="0">
                <a:solidFill>
                  <a:srgbClr val="284191"/>
                </a:solidFill>
                <a:latin typeface="+mj-lt"/>
              </a:rPr>
              <a:t>keine Urlaubsentschädigung </a:t>
            </a:r>
          </a:p>
          <a:p>
            <a:r>
              <a:rPr lang="de-AT" dirty="0">
                <a:solidFill>
                  <a:srgbClr val="284191"/>
                </a:solidFill>
                <a:latin typeface="+mj-lt"/>
              </a:rPr>
              <a:t>kein Einkommen über der Geringfügigkeitsgrenze € 551,10</a:t>
            </a:r>
          </a:p>
        </p:txBody>
      </p:sp>
      <p:sp>
        <p:nvSpPr>
          <p:cNvPr id="5" name="Eckige Klammer rechts 4"/>
          <p:cNvSpPr/>
          <p:nvPr/>
        </p:nvSpPr>
        <p:spPr>
          <a:xfrm>
            <a:off x="5329367" y="1408383"/>
            <a:ext cx="409575" cy="2811192"/>
          </a:xfrm>
          <a:prstGeom prst="rightBracket">
            <a:avLst>
              <a:gd name="adj" fmla="val 96705"/>
            </a:avLst>
          </a:prstGeom>
          <a:ln w="44450">
            <a:solidFill>
              <a:srgbClr val="2841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5" name="Textfeld 94"/>
          <p:cNvSpPr txBox="1"/>
          <p:nvPr/>
        </p:nvSpPr>
        <p:spPr>
          <a:xfrm>
            <a:off x="5899407" y="4699174"/>
            <a:ext cx="596375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dirty="0">
                <a:solidFill>
                  <a:srgbClr val="284191"/>
                </a:solidFill>
                <a:latin typeface="+mj-lt"/>
              </a:rPr>
              <a:t>weiterarbeiten </a:t>
            </a:r>
            <a:r>
              <a:rPr lang="de-AT" u="sng" dirty="0">
                <a:solidFill>
                  <a:srgbClr val="284191"/>
                </a:solidFill>
                <a:latin typeface="+mj-lt"/>
              </a:rPr>
              <a:t>und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 Pensionsbezug</a:t>
            </a:r>
          </a:p>
          <a:p>
            <a:endParaRPr lang="de-AT" dirty="0">
              <a:solidFill>
                <a:srgbClr val="284191"/>
              </a:solidFill>
              <a:latin typeface="+mj-lt"/>
            </a:endParaRPr>
          </a:p>
          <a:p>
            <a:endParaRPr lang="de-AT" dirty="0">
              <a:solidFill>
                <a:srgbClr val="284191"/>
              </a:solidFill>
              <a:latin typeface="+mj-lt"/>
            </a:endParaRPr>
          </a:p>
          <a:p>
            <a:r>
              <a:rPr lang="de-AT" dirty="0">
                <a:solidFill>
                  <a:srgbClr val="284191"/>
                </a:solidFill>
                <a:latin typeface="+mj-lt"/>
              </a:rPr>
              <a:t>weiterarbeiten </a:t>
            </a:r>
            <a:r>
              <a:rPr lang="de-AT" u="sng" dirty="0">
                <a:solidFill>
                  <a:srgbClr val="284191"/>
                </a:solidFill>
                <a:latin typeface="+mj-lt"/>
              </a:rPr>
              <a:t>ohne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 Pensionsbezug</a:t>
            </a:r>
          </a:p>
          <a:p>
            <a:r>
              <a:rPr lang="de-AT" dirty="0">
                <a:solidFill>
                  <a:srgbClr val="284191"/>
                </a:solidFill>
                <a:latin typeface="+mj-lt"/>
              </a:rPr>
              <a:t>für max. 3 Jahre</a:t>
            </a:r>
          </a:p>
        </p:txBody>
      </p:sp>
      <p:sp>
        <p:nvSpPr>
          <p:cNvPr id="98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5667506" cy="534368"/>
          </a:xfrm>
        </p:spPr>
        <p:txBody>
          <a:bodyPr/>
          <a:lstStyle/>
          <a:p>
            <a:pPr algn="ctr"/>
            <a:r>
              <a:rPr lang="de-AT" dirty="0" err="1"/>
              <a:t>Zuverdienstgrenzen</a:t>
            </a:r>
            <a:endParaRPr lang="de-AT" dirty="0"/>
          </a:p>
        </p:txBody>
      </p:sp>
      <p:pic>
        <p:nvPicPr>
          <p:cNvPr id="103" name="Grafik 10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04" name="Textfeld 103"/>
          <p:cNvSpPr txBox="1"/>
          <p:nvPr/>
        </p:nvSpPr>
        <p:spPr>
          <a:xfrm>
            <a:off x="8954048" y="5507144"/>
            <a:ext cx="268709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92D050"/>
                </a:solidFill>
                <a:latin typeface="+mj-lt"/>
              </a:rPr>
              <a:t>+ 15,3 %</a:t>
            </a:r>
          </a:p>
          <a:p>
            <a:pPr algn="ctr"/>
            <a:endParaRPr lang="de-AT" sz="1500" dirty="0">
              <a:solidFill>
                <a:srgbClr val="92D050"/>
              </a:solidFill>
              <a:latin typeface="+mj-lt"/>
            </a:endParaRPr>
          </a:p>
          <a:p>
            <a:pPr algn="ctr"/>
            <a:r>
              <a:rPr lang="de-AT" sz="1500" dirty="0">
                <a:solidFill>
                  <a:srgbClr val="92D050"/>
                </a:solidFill>
                <a:latin typeface="+mj-lt"/>
              </a:rPr>
              <a:t>Halbierung </a:t>
            </a:r>
          </a:p>
          <a:p>
            <a:pPr algn="ctr"/>
            <a:r>
              <a:rPr lang="de-AT" sz="1500" dirty="0">
                <a:solidFill>
                  <a:srgbClr val="92D050"/>
                </a:solidFill>
                <a:latin typeface="+mj-lt"/>
              </a:rPr>
              <a:t>DN und DG-PV-Beiträge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95335" y="3988742"/>
            <a:ext cx="269686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92D050"/>
                </a:solidFill>
                <a:latin typeface="+mj-lt"/>
              </a:rPr>
              <a:t>besonderer Höherversicherungsbetrag</a:t>
            </a:r>
          </a:p>
        </p:txBody>
      </p:sp>
      <p:sp>
        <p:nvSpPr>
          <p:cNvPr id="17" name="Textfeld 16"/>
          <p:cNvSpPr txBox="1"/>
          <p:nvPr/>
        </p:nvSpPr>
        <p:spPr>
          <a:xfrm rot="9682325" flipV="1">
            <a:off x="10022334" y="4680577"/>
            <a:ext cx="84286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FF0000"/>
                </a:solidFill>
                <a:latin typeface="+mj-lt"/>
              </a:rPr>
              <a:t>NEU ab 2027</a:t>
            </a:r>
          </a:p>
        </p:txBody>
      </p:sp>
    </p:spTree>
    <p:extLst>
      <p:ext uri="{BB962C8B-B14F-4D97-AF65-F5344CB8AC3E}">
        <p14:creationId xmlns:p14="http://schemas.microsoft.com/office/powerpoint/2010/main" val="1518015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6" grpId="0"/>
      <p:bldP spid="1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9063" y="-57150"/>
            <a:ext cx="12430125" cy="69723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190500" y="365125"/>
            <a:ext cx="5362575" cy="534368"/>
          </a:xfrm>
        </p:spPr>
        <p:txBody>
          <a:bodyPr/>
          <a:lstStyle/>
          <a:p>
            <a:pPr algn="ctr"/>
            <a:r>
              <a:rPr lang="de-AT" dirty="0"/>
              <a:t>Pensionskonto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962400" y="2091538"/>
            <a:ext cx="8305800" cy="3000821"/>
          </a:xfrm>
        </p:spPr>
        <p:txBody>
          <a:bodyPr/>
          <a:lstStyle/>
          <a:p>
            <a:r>
              <a:rPr lang="de-AT" sz="2000" dirty="0">
                <a:solidFill>
                  <a:srgbClr val="FF0000"/>
                </a:solidFill>
              </a:rPr>
              <a:t>PENSIONSKONTOERSTGUTSCHRIFT</a:t>
            </a:r>
          </a:p>
          <a:p>
            <a:r>
              <a:rPr lang="de-AT" sz="2000" dirty="0"/>
              <a:t>Beitragsgrundlagensumme eines Jahres x 1,78 % = </a:t>
            </a:r>
            <a:r>
              <a:rPr lang="de-AT" sz="2000" b="1" dirty="0"/>
              <a:t>TEILGUTSCHRIFT</a:t>
            </a:r>
          </a:p>
          <a:p>
            <a:r>
              <a:rPr lang="de-AT" sz="2000" dirty="0"/>
              <a:t>Beitragsgrundlagensumme eines Jahres x 1,78 % = </a:t>
            </a:r>
            <a:r>
              <a:rPr lang="de-AT" sz="2000" b="1" dirty="0"/>
              <a:t>TEILGUTSCHRIFT</a:t>
            </a:r>
          </a:p>
          <a:p>
            <a:r>
              <a:rPr lang="de-AT" sz="2000" u="heavy" dirty="0"/>
              <a:t>Beitragsgrundlagensumme eines Jahres x 1,78 % = </a:t>
            </a:r>
            <a:r>
              <a:rPr lang="de-AT" sz="2000" b="1" u="heavy" dirty="0"/>
              <a:t>TEILGUTSCHRIFT</a:t>
            </a:r>
          </a:p>
          <a:p>
            <a:r>
              <a:rPr lang="de-AT" sz="2000" dirty="0"/>
              <a:t>Summe der aufgewerteten Teilgutschriften = </a:t>
            </a:r>
            <a:r>
              <a:rPr lang="de-AT" sz="2000" b="1" u="heavy" dirty="0"/>
              <a:t>GESAMTGUTSCHRIFT</a:t>
            </a:r>
          </a:p>
          <a:p>
            <a:endParaRPr lang="de-AT" sz="2000" b="1" dirty="0"/>
          </a:p>
          <a:p>
            <a:r>
              <a:rPr lang="de-AT" sz="2000" dirty="0"/>
              <a:t>Gesamtgutschrift / 14 = </a:t>
            </a:r>
            <a:r>
              <a:rPr lang="de-AT" sz="2000" b="1" dirty="0"/>
              <a:t>monatliche Pensionshöhe brutto </a:t>
            </a:r>
          </a:p>
          <a:p>
            <a:r>
              <a:rPr lang="de-AT" sz="2000" b="1" dirty="0"/>
              <a:t>                                        zum 65. Lebensjahr				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2" name="Titel 3"/>
          <p:cNvSpPr txBox="1">
            <a:spLocks/>
          </p:cNvSpPr>
          <p:nvPr/>
        </p:nvSpPr>
        <p:spPr>
          <a:xfrm>
            <a:off x="550863" y="975503"/>
            <a:ext cx="3862253" cy="38048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36000" rIns="180000" bIns="36000" rtlCol="0" anchor="ctr">
            <a:spAutoFit/>
          </a:bodyPr>
          <a:lstStyle>
            <a:lvl1pPr marL="533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alpha val="92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2000" dirty="0"/>
              <a:t>für ab 01.01.1955 Geborene</a:t>
            </a:r>
          </a:p>
        </p:txBody>
      </p:sp>
    </p:spTree>
    <p:extLst>
      <p:ext uri="{BB962C8B-B14F-4D97-AF65-F5344CB8AC3E}">
        <p14:creationId xmlns:p14="http://schemas.microsoft.com/office/powerpoint/2010/main" val="3253078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401550" cy="6867525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4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104775" y="365125"/>
            <a:ext cx="5829300" cy="534368"/>
          </a:xfrm>
        </p:spPr>
        <p:txBody>
          <a:bodyPr/>
          <a:lstStyle/>
          <a:p>
            <a:pPr algn="ctr"/>
            <a:r>
              <a:rPr lang="de-AT" dirty="0"/>
              <a:t>Pensionssplitting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325273" y="1300511"/>
            <a:ext cx="9820275" cy="4539704"/>
          </a:xfrm>
        </p:spPr>
        <p:txBody>
          <a:bodyPr/>
          <a:lstStyle/>
          <a:p>
            <a:r>
              <a:rPr lang="de-AT" sz="2000" dirty="0"/>
              <a:t>bis zum 10. Geburtstag des Kindes - formlos beantragen</a:t>
            </a:r>
          </a:p>
          <a:p>
            <a:endParaRPr lang="de-AT" sz="2000" dirty="0"/>
          </a:p>
          <a:p>
            <a:r>
              <a:rPr lang="de-AT" sz="2000" dirty="0"/>
              <a:t>für die ersten 7 Jahre ab dem Jahr der Geburt möglich</a:t>
            </a:r>
          </a:p>
          <a:p>
            <a:endParaRPr lang="de-AT" sz="2000" dirty="0"/>
          </a:p>
          <a:p>
            <a:r>
              <a:rPr lang="de-AT" sz="2000" dirty="0"/>
              <a:t>für max. 14 Jahre</a:t>
            </a:r>
          </a:p>
          <a:p>
            <a:endParaRPr lang="de-AT" sz="2000" dirty="0"/>
          </a:p>
          <a:p>
            <a:r>
              <a:rPr lang="de-AT" sz="2000" dirty="0"/>
              <a:t>Übertragung max. 50 % der Teilgutschrift</a:t>
            </a:r>
          </a:p>
          <a:p>
            <a:pPr marL="342900" indent="-342900">
              <a:buFontTx/>
              <a:buChar char="-"/>
            </a:pPr>
            <a:endParaRPr lang="de-AT" sz="2000" dirty="0"/>
          </a:p>
          <a:p>
            <a:r>
              <a:rPr lang="de-AT" sz="2000" dirty="0"/>
              <a:t>bei Übernehmer maximal Höchstbeitragsgrundlage</a:t>
            </a:r>
          </a:p>
          <a:p>
            <a:r>
              <a:rPr lang="de-AT" sz="2000" dirty="0"/>
              <a:t>				jährlich € 97.020,-</a:t>
            </a:r>
          </a:p>
          <a:p>
            <a:endParaRPr lang="de-AT" sz="2000" dirty="0"/>
          </a:p>
          <a:p>
            <a:r>
              <a:rPr lang="de-AT" sz="2000" dirty="0"/>
              <a:t>Übertragung ist verbindlich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35411" y="-39861"/>
            <a:ext cx="1781175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5880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288" y="-14289"/>
            <a:ext cx="12220575" cy="687228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5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6438279" cy="534368"/>
          </a:xfrm>
        </p:spPr>
        <p:txBody>
          <a:bodyPr/>
          <a:lstStyle/>
          <a:p>
            <a:r>
              <a:rPr lang="de-AT" dirty="0"/>
              <a:t>Selbst-/Weiterversicherungen…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227638" y="1462700"/>
            <a:ext cx="6831012" cy="4832092"/>
          </a:xfrm>
        </p:spPr>
        <p:txBody>
          <a:bodyPr/>
          <a:lstStyle/>
          <a:p>
            <a:r>
              <a:rPr lang="de-AT" dirty="0">
                <a:solidFill>
                  <a:srgbClr val="284191"/>
                </a:solidFill>
              </a:rPr>
              <a:t>bei geringfügiger Beschäftigung</a:t>
            </a:r>
          </a:p>
          <a:p>
            <a:endParaRPr lang="de-AT" dirty="0">
              <a:solidFill>
                <a:srgbClr val="284191"/>
              </a:solidFill>
            </a:endParaRPr>
          </a:p>
          <a:p>
            <a:r>
              <a:rPr lang="de-AT" dirty="0">
                <a:solidFill>
                  <a:srgbClr val="284191"/>
                </a:solidFill>
              </a:rPr>
              <a:t>für pflegende Angehörige</a:t>
            </a:r>
          </a:p>
          <a:p>
            <a:endParaRPr lang="de-AT" dirty="0">
              <a:solidFill>
                <a:srgbClr val="284191"/>
              </a:solidFill>
            </a:endParaRPr>
          </a:p>
          <a:p>
            <a:r>
              <a:rPr lang="de-AT" dirty="0">
                <a:solidFill>
                  <a:srgbClr val="284191"/>
                </a:solidFill>
              </a:rPr>
              <a:t>für Zeiten der Pflege eines behinderten Kindes</a:t>
            </a:r>
          </a:p>
          <a:p>
            <a:endParaRPr lang="de-AT" dirty="0">
              <a:solidFill>
                <a:srgbClr val="284191"/>
              </a:solidFill>
            </a:endParaRPr>
          </a:p>
          <a:p>
            <a:r>
              <a:rPr lang="de-AT" dirty="0">
                <a:solidFill>
                  <a:srgbClr val="284191"/>
                </a:solidFill>
              </a:rPr>
              <a:t>Angehörigenbonus</a:t>
            </a:r>
          </a:p>
          <a:p>
            <a:endParaRPr lang="de-AT" dirty="0">
              <a:solidFill>
                <a:srgbClr val="284191"/>
              </a:solidFill>
            </a:endParaRPr>
          </a:p>
          <a:p>
            <a:r>
              <a:rPr lang="de-AT" dirty="0">
                <a:solidFill>
                  <a:srgbClr val="284191"/>
                </a:solidFill>
              </a:rPr>
              <a:t>für Schul-, Studien- und Ausbildungszeiten für ab den 01.10.2005 liegenden Zeiten</a:t>
            </a:r>
          </a:p>
          <a:p>
            <a:endParaRPr lang="de-AT" dirty="0">
              <a:solidFill>
                <a:srgbClr val="284191"/>
              </a:solidFill>
            </a:endParaRPr>
          </a:p>
          <a:p>
            <a:endParaRPr lang="de-AT" dirty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088923" y="2594106"/>
            <a:ext cx="15980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beitragsfre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0317773" y="3420530"/>
            <a:ext cx="15980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beitragsfrei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8643144" y="1850837"/>
            <a:ext cx="15980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mtl. € 83,49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0356971" y="5095487"/>
            <a:ext cx="193980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mtl. € 1.580,04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5436" y="23193"/>
            <a:ext cx="1781175" cy="1085850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7538244" y="4224983"/>
            <a:ext cx="15980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mtl. € 134,30</a:t>
            </a:r>
          </a:p>
        </p:txBody>
      </p:sp>
    </p:spTree>
    <p:extLst>
      <p:ext uri="{BB962C8B-B14F-4D97-AF65-F5344CB8AC3E}">
        <p14:creationId xmlns:p14="http://schemas.microsoft.com/office/powerpoint/2010/main" val="1638091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526" y="-47625"/>
            <a:ext cx="12201525" cy="70294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6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9527" y="246408"/>
            <a:ext cx="5755985" cy="534368"/>
          </a:xfrm>
        </p:spPr>
        <p:txBody>
          <a:bodyPr/>
          <a:lstStyle/>
          <a:p>
            <a:pPr algn="ctr"/>
            <a:r>
              <a:rPr lang="de-AT" dirty="0"/>
              <a:t>Ausgleichszulag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455584" y="1151957"/>
            <a:ext cx="7077569" cy="5039118"/>
          </a:xfrm>
          <a:solidFill>
            <a:srgbClr val="F1F0EF"/>
          </a:solidFill>
        </p:spPr>
        <p:txBody>
          <a:bodyPr/>
          <a:lstStyle/>
          <a:p>
            <a:r>
              <a:rPr lang="de-AT" dirty="0"/>
              <a:t>Richtsatz für Alleinstehende	€ 1.308,39</a:t>
            </a:r>
          </a:p>
          <a:p>
            <a:endParaRPr lang="de-AT" dirty="0"/>
          </a:p>
          <a:p>
            <a:r>
              <a:rPr lang="de-AT" dirty="0"/>
              <a:t>Richtsatz für Ehepaare und</a:t>
            </a:r>
          </a:p>
          <a:p>
            <a:r>
              <a:rPr lang="de-AT" dirty="0"/>
              <a:t>eingetragene Partner		€ 2.064,12</a:t>
            </a:r>
          </a:p>
          <a:p>
            <a:endParaRPr lang="de-AT" dirty="0"/>
          </a:p>
          <a:p>
            <a:r>
              <a:rPr lang="de-AT" dirty="0"/>
              <a:t>Erhöhung je Kind			€    201,88</a:t>
            </a:r>
          </a:p>
          <a:p>
            <a:endParaRPr lang="de-AT" dirty="0"/>
          </a:p>
          <a:p>
            <a:r>
              <a:rPr lang="de-AT" dirty="0"/>
              <a:t>Pensionsantrag ist automatisch AZ-Antrag</a:t>
            </a:r>
          </a:p>
          <a:p>
            <a:endParaRPr lang="de-AT" sz="500" dirty="0"/>
          </a:p>
          <a:p>
            <a:r>
              <a:rPr lang="de-AT" dirty="0"/>
              <a:t>		</a:t>
            </a:r>
            <a:r>
              <a:rPr lang="de-AT" sz="1500" b="1" dirty="0"/>
              <a:t>Richtsatz</a:t>
            </a:r>
          </a:p>
          <a:p>
            <a:r>
              <a:rPr lang="de-AT" sz="1500" dirty="0"/>
              <a:t>		- Bruttopension</a:t>
            </a:r>
          </a:p>
          <a:p>
            <a:r>
              <a:rPr lang="de-AT" sz="1500" dirty="0"/>
              <a:t>		- Nettoeinkommen (auch des Gatten/Partners)</a:t>
            </a:r>
          </a:p>
          <a:p>
            <a:r>
              <a:rPr lang="de-AT" sz="1500" dirty="0"/>
              <a:t>		</a:t>
            </a:r>
            <a:r>
              <a:rPr lang="de-AT" sz="1500" u="sng" dirty="0"/>
              <a:t>- Unterhaltsansprüche</a:t>
            </a:r>
          </a:p>
          <a:p>
            <a:r>
              <a:rPr lang="de-AT" sz="1500" dirty="0"/>
              <a:t>		Ausgleichszulage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214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216611" cy="68961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7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114300" y="365125"/>
            <a:ext cx="5915025" cy="534368"/>
          </a:xfrm>
        </p:spPr>
        <p:txBody>
          <a:bodyPr/>
          <a:lstStyle/>
          <a:p>
            <a:pPr algn="ctr"/>
            <a:r>
              <a:rPr lang="de-AT" dirty="0"/>
              <a:t>Teilpens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615786" y="1086578"/>
            <a:ext cx="7277100" cy="3847207"/>
          </a:xfrm>
        </p:spPr>
        <p:txBody>
          <a:bodyPr/>
          <a:lstStyle/>
          <a:p>
            <a:r>
              <a:rPr lang="de-AT" sz="2000" dirty="0"/>
              <a:t>Anspruchsvoraussetzungen für eine der folgenden Pensionsarten müssen erfüllt sein:</a:t>
            </a:r>
          </a:p>
          <a:p>
            <a:r>
              <a:rPr lang="de-AT" sz="1500" dirty="0"/>
              <a:t>	- Korridorpension	- Schwerarbeitspension</a:t>
            </a:r>
          </a:p>
          <a:p>
            <a:r>
              <a:rPr lang="de-AT" sz="1500" dirty="0"/>
              <a:t>	- </a:t>
            </a:r>
            <a:r>
              <a:rPr lang="de-AT" sz="1500" dirty="0" err="1"/>
              <a:t>Hacklerpension</a:t>
            </a:r>
            <a:r>
              <a:rPr lang="de-AT" sz="1500" dirty="0"/>
              <a:t>	- Alterspension</a:t>
            </a:r>
          </a:p>
          <a:p>
            <a:endParaRPr lang="de-AT" sz="1500" dirty="0"/>
          </a:p>
          <a:p>
            <a:r>
              <a:rPr lang="de-AT" sz="2000" dirty="0"/>
              <a:t>es darf kein Eigenpensionsbezug vorliegen</a:t>
            </a:r>
          </a:p>
          <a:p>
            <a:endParaRPr lang="de-AT" sz="2000" dirty="0"/>
          </a:p>
          <a:p>
            <a:r>
              <a:rPr lang="de-AT" sz="2000" dirty="0"/>
              <a:t>Ab- und Zuschläge je nach Pensionsart</a:t>
            </a:r>
          </a:p>
          <a:p>
            <a:endParaRPr lang="de-AT" sz="2000" dirty="0"/>
          </a:p>
          <a:p>
            <a:r>
              <a:rPr lang="de-AT" sz="2000" dirty="0"/>
              <a:t>keine gemeinsame Versteuerung</a:t>
            </a:r>
          </a:p>
          <a:p>
            <a:endParaRPr lang="de-AT" sz="200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5436" y="23193"/>
            <a:ext cx="1781175" cy="108585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8324" y="4661562"/>
            <a:ext cx="5495925" cy="166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5982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8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3756454" cy="534368"/>
          </a:xfrm>
        </p:spPr>
        <p:txBody>
          <a:bodyPr/>
          <a:lstStyle/>
          <a:p>
            <a:r>
              <a:rPr lang="de-AT" dirty="0"/>
              <a:t>Korridorpension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4363993" cy="534368"/>
          </a:xfrm>
        </p:spPr>
        <p:txBody>
          <a:bodyPr/>
          <a:lstStyle/>
          <a:p>
            <a:r>
              <a:rPr lang="de-AT" dirty="0"/>
              <a:t>Übergangsregelung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7540" y="386588"/>
            <a:ext cx="4140282" cy="631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0294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29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3221051" cy="534368"/>
          </a:xfrm>
        </p:spPr>
        <p:txBody>
          <a:bodyPr/>
          <a:lstStyle/>
          <a:p>
            <a:r>
              <a:rPr lang="de-AT" dirty="0"/>
              <a:t>Alterspens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0" y="944205"/>
            <a:ext cx="7855333" cy="534368"/>
          </a:xfrm>
        </p:spPr>
        <p:txBody>
          <a:bodyPr/>
          <a:lstStyle/>
          <a:p>
            <a:r>
              <a:rPr lang="de-AT" dirty="0"/>
              <a:t>Übergangsregelung Anfallsalter Frauen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5287" y="1930726"/>
            <a:ext cx="5010150" cy="421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730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353925" cy="7115175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3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1" y="97941"/>
            <a:ext cx="5638801" cy="534368"/>
          </a:xfrm>
        </p:spPr>
        <p:txBody>
          <a:bodyPr/>
          <a:lstStyle/>
          <a:p>
            <a:r>
              <a:rPr lang="de-AT" dirty="0"/>
              <a:t>Leistungsübersich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054657" y="1340343"/>
            <a:ext cx="7019925" cy="4508927"/>
          </a:xfrm>
        </p:spPr>
        <p:txBody>
          <a:bodyPr/>
          <a:lstStyle/>
          <a:p>
            <a:pPr algn="ctr"/>
            <a:r>
              <a:rPr lang="de-AT" sz="4000" b="1" dirty="0"/>
              <a:t>Serviceleistungen</a:t>
            </a:r>
          </a:p>
          <a:p>
            <a:pPr algn="ctr"/>
            <a:endParaRPr lang="de-AT" sz="1400" b="1" dirty="0"/>
          </a:p>
          <a:p>
            <a:pPr algn="ctr"/>
            <a:r>
              <a:rPr lang="de-AT" sz="4000" b="1" dirty="0"/>
              <a:t>Pensionsleistungen</a:t>
            </a:r>
          </a:p>
          <a:p>
            <a:pPr algn="ctr"/>
            <a:endParaRPr lang="de-AT" sz="2400" dirty="0"/>
          </a:p>
          <a:p>
            <a:pPr algn="ctr"/>
            <a:r>
              <a:rPr lang="de-AT" sz="2400" dirty="0"/>
              <a:t>Gesundheitsleistungen</a:t>
            </a:r>
          </a:p>
          <a:p>
            <a:pPr algn="ctr"/>
            <a:endParaRPr lang="de-AT" sz="1400" dirty="0"/>
          </a:p>
          <a:p>
            <a:pPr algn="ctr"/>
            <a:r>
              <a:rPr lang="de-AT" sz="2400" dirty="0"/>
              <a:t>Pflegegeld und Angehörigenbonus</a:t>
            </a:r>
          </a:p>
          <a:p>
            <a:pPr algn="ctr"/>
            <a:endParaRPr lang="de-AT" sz="1400" dirty="0"/>
          </a:p>
          <a:p>
            <a:pPr algn="ctr"/>
            <a:r>
              <a:rPr lang="de-AT" sz="2400" dirty="0"/>
              <a:t>Leistungen aus dem Unterstützungsfonds</a:t>
            </a:r>
          </a:p>
          <a:p>
            <a:pPr algn="ctr"/>
            <a:endParaRPr lang="de-AT" sz="3000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333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8125" y="-328613"/>
            <a:ext cx="12668250" cy="751522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367367" y="4760119"/>
            <a:ext cx="276723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8000" b="1" dirty="0">
                <a:solidFill>
                  <a:srgbClr val="284191"/>
                </a:solidFill>
                <a:latin typeface="Brush Script MT" panose="03060802040406070304" pitchFamily="66" charset="0"/>
              </a:rPr>
              <a:t>Danke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3350"/>
            <a:ext cx="4867275" cy="96202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8169738" y="5991225"/>
            <a:ext cx="36054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dirty="0" err="1">
                <a:solidFill>
                  <a:srgbClr val="284191"/>
                </a:solidFill>
                <a:latin typeface="+mj-lt"/>
              </a:rPr>
              <a:t>Mag.</a:t>
            </a:r>
            <a:r>
              <a:rPr lang="de-AT" baseline="30000" dirty="0" err="1">
                <a:solidFill>
                  <a:srgbClr val="284191"/>
                </a:solidFill>
                <a:latin typeface="+mj-lt"/>
              </a:rPr>
              <a:t>a</a:t>
            </a:r>
            <a:r>
              <a:rPr lang="de-AT" dirty="0">
                <a:solidFill>
                  <a:srgbClr val="284191"/>
                </a:solidFill>
                <a:latin typeface="+mj-lt"/>
              </a:rPr>
              <a:t> Katharina Krusch-Batruel</a:t>
            </a:r>
          </a:p>
        </p:txBody>
      </p:sp>
    </p:spTree>
    <p:extLst>
      <p:ext uri="{BB962C8B-B14F-4D97-AF65-F5344CB8AC3E}">
        <p14:creationId xmlns:p14="http://schemas.microsoft.com/office/powerpoint/2010/main" val="89032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" y="0"/>
            <a:ext cx="12182475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7452979" cy="534368"/>
          </a:xfrm>
        </p:spPr>
        <p:txBody>
          <a:bodyPr/>
          <a:lstStyle/>
          <a:p>
            <a:r>
              <a:rPr lang="de-AT" dirty="0"/>
              <a:t>Serviceleistungen </a:t>
            </a:r>
            <a:r>
              <a:rPr lang="de-AT" dirty="0">
                <a:solidFill>
                  <a:srgbClr val="92D050">
                    <a:alpha val="92000"/>
                  </a:srgbClr>
                </a:solidFill>
              </a:rPr>
              <a:t>vor</a:t>
            </a:r>
            <a:r>
              <a:rPr lang="de-AT" dirty="0"/>
              <a:t> Pensionsbezug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867275" y="1540233"/>
            <a:ext cx="7038975" cy="3693319"/>
          </a:xfrm>
        </p:spPr>
        <p:txBody>
          <a:bodyPr/>
          <a:lstStyle/>
          <a:p>
            <a:r>
              <a:rPr lang="de-AT" sz="3000" b="1" dirty="0">
                <a:solidFill>
                  <a:srgbClr val="284191"/>
                </a:solidFill>
              </a:rPr>
              <a:t>Feststellung der Versicherungszeiten</a:t>
            </a:r>
          </a:p>
          <a:p>
            <a:pPr marL="342900" indent="-342900">
              <a:buFontTx/>
              <a:buChar char="-"/>
            </a:pPr>
            <a:endParaRPr lang="de-AT" sz="3000" b="1" dirty="0">
              <a:solidFill>
                <a:srgbClr val="284191"/>
              </a:solidFill>
            </a:endParaRPr>
          </a:p>
          <a:p>
            <a:r>
              <a:rPr lang="de-AT" sz="3000" b="1" dirty="0">
                <a:solidFill>
                  <a:srgbClr val="284191"/>
                </a:solidFill>
              </a:rPr>
              <a:t>Anspruchsprüfung (Stichtag)</a:t>
            </a:r>
          </a:p>
          <a:p>
            <a:pPr marL="342900" indent="-342900">
              <a:buFontTx/>
              <a:buChar char="-"/>
            </a:pPr>
            <a:endParaRPr lang="de-AT" sz="3000" b="1" dirty="0">
              <a:solidFill>
                <a:srgbClr val="284191"/>
              </a:solidFill>
            </a:endParaRPr>
          </a:p>
          <a:p>
            <a:r>
              <a:rPr lang="de-AT" sz="3000" b="1" dirty="0">
                <a:solidFill>
                  <a:srgbClr val="284191"/>
                </a:solidFill>
              </a:rPr>
              <a:t>Pensionsvorausberechnung</a:t>
            </a:r>
          </a:p>
          <a:p>
            <a:pPr marL="342900" indent="-342900">
              <a:buFontTx/>
              <a:buChar char="-"/>
            </a:pPr>
            <a:endParaRPr lang="de-AT" sz="3000" b="1" dirty="0">
              <a:solidFill>
                <a:srgbClr val="284191"/>
              </a:solidFill>
            </a:endParaRPr>
          </a:p>
          <a:p>
            <a:r>
              <a:rPr lang="de-AT" sz="3000" b="1" dirty="0"/>
              <a:t>Pensionskontozugang onlin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9607015" y="5233552"/>
            <a:ext cx="213071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dirty="0">
                <a:solidFill>
                  <a:srgbClr val="FF0000"/>
                </a:solidFill>
                <a:latin typeface="+mj-lt"/>
              </a:rPr>
              <a:t>www.meinesv.at</a:t>
            </a:r>
          </a:p>
        </p:txBody>
      </p:sp>
    </p:spTree>
    <p:extLst>
      <p:ext uri="{BB962C8B-B14F-4D97-AF65-F5344CB8AC3E}">
        <p14:creationId xmlns:p14="http://schemas.microsoft.com/office/powerpoint/2010/main" val="3404702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4625282" cy="534368"/>
          </a:xfrm>
        </p:spPr>
        <p:txBody>
          <a:bodyPr/>
          <a:lstStyle/>
          <a:p>
            <a:r>
              <a:rPr lang="de-AT" dirty="0"/>
              <a:t>Erreichbarkeit der PV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41" y="5262102"/>
            <a:ext cx="1532063" cy="159589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296" y="5243688"/>
            <a:ext cx="1549731" cy="161430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825" y="5245305"/>
            <a:ext cx="1548176" cy="1612683"/>
          </a:xfrm>
          <a:prstGeom prst="rect">
            <a:avLst/>
          </a:prstGeom>
          <a:solidFill>
            <a:srgbClr val="F1F0EF"/>
          </a:solidFill>
          <a:effectLst>
            <a:outerShdw blurRad="50800" dist="50800" dir="5400000" algn="ctr" rotWithShape="0">
              <a:srgbClr val="F1F0EF"/>
            </a:outerShdw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448" y="5247285"/>
            <a:ext cx="1542824" cy="1607108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197" y="5264341"/>
            <a:ext cx="1529903" cy="1593648"/>
          </a:xfrm>
          <a:prstGeom prst="rect">
            <a:avLst/>
          </a:prstGeom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1085113-A46D-ABC0-601D-0811B6E6196B}"/>
              </a:ext>
            </a:extLst>
          </p:cNvPr>
          <p:cNvSpPr txBox="1">
            <a:spLocks/>
          </p:cNvSpPr>
          <p:nvPr/>
        </p:nvSpPr>
        <p:spPr>
          <a:xfrm>
            <a:off x="2730691" y="1531850"/>
            <a:ext cx="9089834" cy="3730252"/>
          </a:xfrm>
          <a:prstGeom prst="rect">
            <a:avLst/>
          </a:prstGeom>
          <a:solidFill>
            <a:srgbClr val="F1F0EF"/>
          </a:solidFill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2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900"/>
              </a:spcBef>
              <a:buFont typeface="Soleil Lt" panose="00000400000000000000" pitchFamily="50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14000"/>
              </a:lnSpc>
              <a:spcBef>
                <a:spcPts val="900"/>
              </a:spcBef>
              <a:buClr>
                <a:schemeClr val="accent2"/>
              </a:buClr>
              <a:buFont typeface="Soleil Lt" panose="00000400000000000000" pitchFamily="50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71463" algn="l" defTabSz="914400" rtl="0" eaLnBrk="1" latinLnBrk="0" hangingPunct="1">
              <a:lnSpc>
                <a:spcPct val="114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14000"/>
              </a:lnSpc>
              <a:spcBef>
                <a:spcPts val="900"/>
              </a:spcBef>
              <a:buClr>
                <a:schemeClr val="tx2"/>
              </a:buClr>
              <a:buFont typeface="Soleil Lt" panose="00000400000000000000" pitchFamily="50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>
                <a:solidFill>
                  <a:srgbClr val="284191"/>
                </a:solidFill>
              </a:rPr>
              <a:t>05 03 03 - </a:t>
            </a:r>
            <a:r>
              <a:rPr lang="de-AT" dirty="0">
                <a:solidFill>
                  <a:srgbClr val="FF0000"/>
                </a:solidFill>
              </a:rPr>
              <a:t>34 170</a:t>
            </a:r>
            <a:r>
              <a:rPr lang="de-AT" dirty="0">
                <a:solidFill>
                  <a:srgbClr val="284191"/>
                </a:solidFill>
              </a:rPr>
              <a:t>      persönlicher Beratungstermi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>
                <a:solidFill>
                  <a:srgbClr val="284191"/>
                </a:solidFill>
              </a:rPr>
              <a:t>			</a:t>
            </a:r>
            <a:r>
              <a:rPr lang="de-AT" dirty="0">
                <a:solidFill>
                  <a:srgbClr val="284191"/>
                </a:solidFill>
                <a:latin typeface="Soleil Lt" panose="00000400000000000000" charset="0"/>
              </a:rPr>
              <a:t>Infoplattform - Eggenbergerstraße 3, Graz </a:t>
            </a:r>
            <a:br>
              <a:rPr lang="de-AT" dirty="0">
                <a:solidFill>
                  <a:srgbClr val="284191"/>
                </a:solidFill>
                <a:latin typeface="Soleil Lt" panose="00000400000000000000" charset="0"/>
              </a:rPr>
            </a:br>
            <a:r>
              <a:rPr lang="de-AT" dirty="0">
                <a:solidFill>
                  <a:srgbClr val="284191"/>
                </a:solidFill>
                <a:latin typeface="Soleil Lt" panose="00000400000000000000" charset="0"/>
              </a:rPr>
              <a:t>			(07:00 – 15:00 Uhr, donnerstags bis 18:00 Uhr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>
                <a:solidFill>
                  <a:srgbClr val="284191"/>
                </a:solidFill>
                <a:latin typeface="Soleil Lt" panose="00000400000000000000" charset="0"/>
              </a:rPr>
              <a:t>			Regionalsprechtag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de-AT" dirty="0">
                <a:solidFill>
                  <a:srgbClr val="284191"/>
                </a:solidFill>
                <a:latin typeface="Soleil Lt" panose="00000400000000000000" charset="0"/>
              </a:rPr>
            </a:br>
            <a:r>
              <a:rPr lang="de-AT" dirty="0">
                <a:solidFill>
                  <a:srgbClr val="284191"/>
                </a:solidFill>
              </a:rPr>
              <a:t>                - 34 452     Termin für ausländische Sprechtag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AT" dirty="0">
              <a:solidFill>
                <a:srgbClr val="284191"/>
              </a:solidFill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defRPr/>
            </a:pPr>
            <a:br>
              <a:rPr lang="de-AT" dirty="0">
                <a:solidFill>
                  <a:srgbClr val="284191"/>
                </a:solidFill>
              </a:rPr>
            </a:br>
            <a:r>
              <a:rPr lang="de-AT" dirty="0">
                <a:solidFill>
                  <a:srgbClr val="284191"/>
                </a:solidFill>
              </a:rPr>
              <a:t>pva-lsg@pv.at  </a:t>
            </a:r>
            <a:r>
              <a:rPr lang="de-AT" dirty="0">
                <a:solidFill>
                  <a:srgbClr val="284191"/>
                </a:solidFill>
                <a:latin typeface="Soleil Lt" panose="00000400000000000000" charset="0"/>
              </a:rPr>
              <a:t>(Versicherungsnummer angeben)</a:t>
            </a:r>
            <a:br>
              <a:rPr lang="de-AT" dirty="0">
                <a:solidFill>
                  <a:srgbClr val="284191"/>
                </a:solidFill>
                <a:latin typeface="Soleil Lt" panose="00000400000000000000" charset="0"/>
              </a:rPr>
            </a:br>
            <a:r>
              <a:rPr lang="de-AT" sz="1000" dirty="0">
                <a:solidFill>
                  <a:srgbClr val="284191"/>
                </a:solidFill>
                <a:latin typeface="Soleil Lt" panose="00000400000000000000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>
                <a:solidFill>
                  <a:srgbClr val="284191"/>
                </a:solidFill>
              </a:rPr>
              <a:t>www.pv.at</a:t>
            </a:r>
            <a:br>
              <a:rPr lang="de-AT" dirty="0">
                <a:solidFill>
                  <a:srgbClr val="284191"/>
                </a:solidFill>
              </a:rPr>
            </a:br>
            <a:r>
              <a:rPr lang="de-AT" sz="1000" dirty="0">
                <a:solidFill>
                  <a:srgbClr val="284191"/>
                </a:solidFill>
              </a:rPr>
              <a:t> </a:t>
            </a:r>
          </a:p>
        </p:txBody>
      </p:sp>
      <p:pic>
        <p:nvPicPr>
          <p:cNvPr id="14" name="Grafik 13"/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262854" y="1492507"/>
            <a:ext cx="792000" cy="792000"/>
          </a:xfrm>
          <a:prstGeom prst="rect">
            <a:avLst/>
          </a:prstGeom>
        </p:spPr>
      </p:pic>
      <p:pic>
        <p:nvPicPr>
          <p:cNvPr id="15" name="Grafik 14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258187" y="4207132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043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9525"/>
            <a:ext cx="12020550" cy="702945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365125"/>
            <a:ext cx="7662973" cy="534368"/>
          </a:xfrm>
        </p:spPr>
        <p:txBody>
          <a:bodyPr/>
          <a:lstStyle/>
          <a:p>
            <a:r>
              <a:rPr lang="de-AT" dirty="0"/>
              <a:t>Versicherungszeiten APG ab 01.01.2005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476874" y="1523458"/>
            <a:ext cx="6353176" cy="4832092"/>
          </a:xfrm>
          <a:solidFill>
            <a:srgbClr val="F1F0EF"/>
          </a:solidFill>
        </p:spPr>
        <p:txBody>
          <a:bodyPr/>
          <a:lstStyle/>
          <a:p>
            <a:endParaRPr lang="de-AT" dirty="0"/>
          </a:p>
          <a:p>
            <a:r>
              <a:rPr lang="de-AT" dirty="0"/>
              <a:t>Beitragsmonate auf Grund einer… 		</a:t>
            </a:r>
          </a:p>
          <a:p>
            <a:endParaRPr lang="de-AT" dirty="0"/>
          </a:p>
          <a:p>
            <a:r>
              <a:rPr lang="de-AT" dirty="0"/>
              <a:t>			- Erwerbstätigkeit</a:t>
            </a:r>
            <a:br>
              <a:rPr lang="de-AT" dirty="0"/>
            </a:br>
            <a:r>
              <a:rPr lang="de-AT" dirty="0"/>
              <a:t>			   </a:t>
            </a:r>
            <a:r>
              <a:rPr lang="de-AT" sz="1500" dirty="0"/>
              <a:t>(ehemals Beitragszeiten)</a:t>
            </a:r>
          </a:p>
          <a:p>
            <a:endParaRPr lang="de-AT" dirty="0"/>
          </a:p>
          <a:p>
            <a:r>
              <a:rPr lang="de-AT" dirty="0"/>
              <a:t>			- Teilpflichtversicherung </a:t>
            </a:r>
          </a:p>
          <a:p>
            <a:r>
              <a:rPr lang="de-AT" dirty="0"/>
              <a:t>			   </a:t>
            </a:r>
            <a:r>
              <a:rPr lang="de-AT" sz="1500" dirty="0"/>
              <a:t>(ehemals Ersatzzeiten)</a:t>
            </a:r>
          </a:p>
          <a:p>
            <a:endParaRPr lang="de-AT" dirty="0"/>
          </a:p>
          <a:p>
            <a:r>
              <a:rPr lang="de-AT" dirty="0"/>
              <a:t>			- freiwilligen Versicherung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6" name="Titel 3"/>
          <p:cNvSpPr txBox="1">
            <a:spLocks/>
          </p:cNvSpPr>
          <p:nvPr/>
        </p:nvSpPr>
        <p:spPr>
          <a:xfrm>
            <a:off x="550863" y="975503"/>
            <a:ext cx="3857444" cy="38048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36000" rIns="180000" bIns="36000" rtlCol="0" anchor="ctr">
            <a:spAutoFit/>
          </a:bodyPr>
          <a:lstStyle>
            <a:lvl1pPr marL="533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alpha val="92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2000" dirty="0"/>
              <a:t>für ab 31.12.1954 Geborene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6846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21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61858" y="-346962"/>
            <a:ext cx="13101358" cy="7191375"/>
          </a:xfrm>
          <a:prstGeom prst="rect">
            <a:avLst/>
          </a:prstGeom>
          <a:ln>
            <a:noFill/>
          </a:ln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-2" y="365125"/>
            <a:ext cx="5486401" cy="534368"/>
          </a:xfrm>
        </p:spPr>
        <p:txBody>
          <a:bodyPr/>
          <a:lstStyle/>
          <a:p>
            <a:r>
              <a:rPr lang="de-AT" dirty="0"/>
              <a:t>Kindererziehungsz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359447" y="993687"/>
            <a:ext cx="9820275" cy="4154984"/>
          </a:xfrm>
        </p:spPr>
        <p:txBody>
          <a:bodyPr/>
          <a:lstStyle/>
          <a:p>
            <a:r>
              <a:rPr lang="de-AT" sz="2000" dirty="0"/>
              <a:t>Erziehung im Inland</a:t>
            </a:r>
          </a:p>
          <a:p>
            <a:endParaRPr lang="de-AT" sz="2000" dirty="0"/>
          </a:p>
          <a:p>
            <a:r>
              <a:rPr lang="de-AT" sz="2000" dirty="0"/>
              <a:t>bis zu 48 Monate pro Kind / Mehrlinge 60 Monate</a:t>
            </a:r>
          </a:p>
          <a:p>
            <a:endParaRPr lang="de-AT" sz="2000" dirty="0"/>
          </a:p>
          <a:p>
            <a:r>
              <a:rPr lang="de-AT" sz="2000" dirty="0"/>
              <a:t>Elternteil der überwiegend erzogen hat</a:t>
            </a:r>
          </a:p>
          <a:p>
            <a:endParaRPr lang="de-AT" sz="2000" dirty="0"/>
          </a:p>
          <a:p>
            <a:r>
              <a:rPr lang="de-AT" sz="2000" dirty="0"/>
              <a:t>kann zwischen den Eltern aufgeteilt werden</a:t>
            </a:r>
          </a:p>
          <a:p>
            <a:endParaRPr lang="de-AT" sz="2000" dirty="0"/>
          </a:p>
          <a:p>
            <a:r>
              <a:rPr lang="de-AT" sz="2000" dirty="0"/>
              <a:t>mtl. Beitragsgrundlage € 2.468,01</a:t>
            </a:r>
          </a:p>
          <a:p>
            <a:endParaRPr lang="de-AT" sz="2000" dirty="0"/>
          </a:p>
          <a:p>
            <a:endParaRPr lang="de-AT" sz="20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5436" y="23193"/>
            <a:ext cx="1781175" cy="1085850"/>
          </a:xfrm>
          <a:prstGeom prst="rect">
            <a:avLst/>
          </a:prstGeom>
        </p:spPr>
      </p:pic>
      <p:cxnSp>
        <p:nvCxnSpPr>
          <p:cNvPr id="7" name="Gerader Verbinder 6"/>
          <p:cNvCxnSpPr/>
          <p:nvPr/>
        </p:nvCxnSpPr>
        <p:spPr>
          <a:xfrm>
            <a:off x="5719482" y="5304867"/>
            <a:ext cx="4223362" cy="15662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/>
          <p:cNvCxnSpPr/>
          <p:nvPr/>
        </p:nvCxnSpPr>
        <p:spPr>
          <a:xfrm flipV="1">
            <a:off x="5871882" y="5017777"/>
            <a:ext cx="5043" cy="412597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/>
          <p:cNvSpPr txBox="1"/>
          <p:nvPr/>
        </p:nvSpPr>
        <p:spPr>
          <a:xfrm>
            <a:off x="5444816" y="4582635"/>
            <a:ext cx="845034" cy="415498"/>
          </a:xfrm>
          <a:prstGeom prst="rect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284191"/>
                </a:solidFill>
                <a:latin typeface="+mj-lt"/>
              </a:rPr>
              <a:t>Geburt </a:t>
            </a:r>
          </a:p>
          <a:p>
            <a:pPr algn="ctr"/>
            <a:r>
              <a:rPr lang="de-AT" sz="1200" dirty="0">
                <a:solidFill>
                  <a:srgbClr val="284191"/>
                </a:solidFill>
                <a:latin typeface="+mj-lt"/>
              </a:rPr>
              <a:t>1. Kind</a:t>
            </a:r>
          </a:p>
        </p:txBody>
      </p:sp>
      <p:cxnSp>
        <p:nvCxnSpPr>
          <p:cNvPr id="53" name="Gerader Verbinder 52"/>
          <p:cNvCxnSpPr/>
          <p:nvPr/>
        </p:nvCxnSpPr>
        <p:spPr>
          <a:xfrm flipV="1">
            <a:off x="7754475" y="5523897"/>
            <a:ext cx="3475986" cy="1526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6073027" y="5017776"/>
            <a:ext cx="362342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chemeClr val="accent2"/>
                </a:solidFill>
                <a:latin typeface="+mj-lt"/>
              </a:rPr>
              <a:t>4 Jahre Kinder </a:t>
            </a:r>
            <a:r>
              <a:rPr lang="de-AT" sz="1500" dirty="0" err="1">
                <a:solidFill>
                  <a:schemeClr val="accent2"/>
                </a:solidFill>
                <a:latin typeface="+mj-lt"/>
              </a:rPr>
              <a:t>erziehungszeiten</a:t>
            </a:r>
            <a:endParaRPr lang="de-AT" sz="1500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58" name="Gerader Verbinder 57"/>
          <p:cNvCxnSpPr/>
          <p:nvPr/>
        </p:nvCxnSpPr>
        <p:spPr>
          <a:xfrm flipV="1">
            <a:off x="9735676" y="5187294"/>
            <a:ext cx="0" cy="251011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 flipH="1" flipV="1">
            <a:off x="7754475" y="4998134"/>
            <a:ext cx="1" cy="973463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feld 60"/>
          <p:cNvSpPr txBox="1"/>
          <p:nvPr/>
        </p:nvSpPr>
        <p:spPr>
          <a:xfrm>
            <a:off x="8123145" y="5627336"/>
            <a:ext cx="285021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FF0000"/>
                </a:solidFill>
                <a:latin typeface="+mj-lt"/>
              </a:rPr>
              <a:t>4 Jahre Kindererziehungszeiten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098312" y="5981756"/>
            <a:ext cx="1380019" cy="6463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1500" dirty="0">
                <a:solidFill>
                  <a:srgbClr val="FF0000"/>
                </a:solidFill>
                <a:latin typeface="+mj-lt"/>
              </a:rPr>
              <a:t>nach 2 Jahren </a:t>
            </a:r>
            <a:br>
              <a:rPr lang="de-AT" sz="1500" dirty="0">
                <a:solidFill>
                  <a:srgbClr val="FF0000"/>
                </a:solidFill>
                <a:latin typeface="+mj-lt"/>
              </a:rPr>
            </a:br>
            <a:r>
              <a:rPr lang="de-AT" sz="1500" dirty="0">
                <a:solidFill>
                  <a:srgbClr val="FF0000"/>
                </a:solidFill>
                <a:latin typeface="+mj-lt"/>
              </a:rPr>
              <a:t>Geburt </a:t>
            </a:r>
          </a:p>
          <a:p>
            <a:pPr algn="ctr"/>
            <a:r>
              <a:rPr lang="de-AT" sz="1200" dirty="0">
                <a:solidFill>
                  <a:srgbClr val="FF0000"/>
                </a:solidFill>
                <a:latin typeface="+mj-lt"/>
              </a:rPr>
              <a:t>2. Kind </a:t>
            </a:r>
          </a:p>
        </p:txBody>
      </p:sp>
      <p:cxnSp>
        <p:nvCxnSpPr>
          <p:cNvPr id="64" name="Gerader Verbinder 63"/>
          <p:cNvCxnSpPr/>
          <p:nvPr/>
        </p:nvCxnSpPr>
        <p:spPr>
          <a:xfrm flipV="1">
            <a:off x="11080389" y="5393485"/>
            <a:ext cx="0" cy="25101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0818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7" grpId="0"/>
      <p:bldP spid="61" grpId="0"/>
      <p:bldP spid="6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0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8</a:t>
            </a:fld>
            <a:endParaRPr lang="de-AT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1738" y="97820"/>
            <a:ext cx="6557963" cy="484565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1738" y="4816893"/>
            <a:ext cx="6575616" cy="1950619"/>
          </a:xfrm>
          <a:prstGeom prst="rect">
            <a:avLst/>
          </a:prstGeom>
        </p:spPr>
      </p:pic>
      <p:sp>
        <p:nvSpPr>
          <p:cNvPr id="13" name="Pfeil nach rechts 12"/>
          <p:cNvSpPr/>
          <p:nvPr/>
        </p:nvSpPr>
        <p:spPr>
          <a:xfrm>
            <a:off x="2047875" y="1552575"/>
            <a:ext cx="600075" cy="438150"/>
          </a:xfrm>
          <a:prstGeom prst="rightArrow">
            <a:avLst/>
          </a:prstGeom>
          <a:solidFill>
            <a:srgbClr val="FF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0224" y="246408"/>
            <a:ext cx="1266026" cy="77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01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ED4B57-C6CD-4512-8B81-8FDEA6AF4940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5349"/>
            <a:ext cx="12039600" cy="6350408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>
            <a:off x="5910261" y="4622631"/>
            <a:ext cx="3367089" cy="857250"/>
          </a:xfrm>
          <a:prstGeom prst="ellipse">
            <a:avLst/>
          </a:pr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8567737" y="1965156"/>
            <a:ext cx="2638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AT" sz="2000" b="1" dirty="0">
                <a:solidFill>
                  <a:srgbClr val="FF0000"/>
                </a:solidFill>
              </a:rPr>
              <a:t>ab 50./55. Lebensjahr</a:t>
            </a:r>
          </a:p>
        </p:txBody>
      </p:sp>
    </p:spTree>
    <p:extLst>
      <p:ext uri="{BB962C8B-B14F-4D97-AF65-F5344CB8AC3E}">
        <p14:creationId xmlns:p14="http://schemas.microsoft.com/office/powerpoint/2010/main" val="2095920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VA 2023">
  <a:themeElements>
    <a:clrScheme name="PV">
      <a:dk1>
        <a:sysClr val="windowText" lastClr="000000"/>
      </a:dk1>
      <a:lt1>
        <a:sysClr val="window" lastClr="FFFFFF"/>
      </a:lt1>
      <a:dk2>
        <a:srgbClr val="96AAD7"/>
      </a:dk2>
      <a:lt2>
        <a:srgbClr val="E6E1E1"/>
      </a:lt2>
      <a:accent1>
        <a:srgbClr val="009691"/>
      </a:accent1>
      <a:accent2>
        <a:srgbClr val="284191"/>
      </a:accent2>
      <a:accent3>
        <a:srgbClr val="692869"/>
      </a:accent3>
      <a:accent4>
        <a:srgbClr val="96234B"/>
      </a:accent4>
      <a:accent5>
        <a:srgbClr val="DC9119"/>
      </a:accent5>
      <a:accent6>
        <a:srgbClr val="F5D20A"/>
      </a:accent6>
      <a:hlink>
        <a:srgbClr val="000000"/>
      </a:hlink>
      <a:folHlink>
        <a:srgbClr val="000000"/>
      </a:folHlink>
    </a:clrScheme>
    <a:fontScheme name="PVA">
      <a:majorFont>
        <a:latin typeface="Soleil Sb"/>
        <a:ea typeface=""/>
        <a:cs typeface=""/>
      </a:majorFont>
      <a:minorFont>
        <a:latin typeface="Soleil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bg2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Türkis dunkel">
      <a:srgbClr val="007D78"/>
    </a:custClr>
    <a:custClr name="PV-Blau dunkel">
      <a:srgbClr val="233778"/>
    </a:custClr>
    <a:custClr name="Violett dunkel">
      <a:srgbClr val="552355"/>
    </a:custClr>
    <a:custClr name="Pflaume dunkel">
      <a:srgbClr val="781E3C"/>
    </a:custClr>
    <a:custClr name="Orange dunkel">
      <a:srgbClr val="AF7814"/>
    </a:custClr>
    <a:custClr name="Gelb dunkel">
      <a:srgbClr val="C3AA0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ürkis hell">
      <a:srgbClr val="A0CDC8"/>
    </a:custClr>
    <a:custClr name="PV-Blau hell">
      <a:srgbClr val="96AAD7"/>
    </a:custClr>
    <a:custClr name="Violett hell">
      <a:srgbClr val="A58CAA"/>
    </a:custClr>
    <a:custClr name="Pflaume hell">
      <a:srgbClr val="BE9196"/>
    </a:custClr>
    <a:custClr name="Orange hell">
      <a:srgbClr val="F0C891"/>
    </a:custClr>
    <a:custClr name="Gelb hell">
      <a:srgbClr val="FAE69B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and dunkel">
      <a:srgbClr val="E1DCD7"/>
    </a:custClr>
    <a:custClr name="Sand mittel">
      <a:srgbClr val="E6E1E1"/>
    </a:custClr>
    <a:custClr name="Sand hell">
      <a:srgbClr val="F5F0F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Funktionsblau dunkel">
      <a:srgbClr val="C8C3CD"/>
    </a:custClr>
    <a:custClr name="Funktionsblau hell">
      <a:srgbClr val="D7D7DC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V PowerPoint-Vorlage 2023_final - ausgerollt.potx" id="{AEAD6FF0-02CD-423A-87D2-AA0CA2A27643}" vid="{A274D913-4E8C-4F8F-A042-C295B6BF612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V PowerPoint-Vorlage 2023_final</Template>
  <TotalTime>0</TotalTime>
  <Words>917</Words>
  <Application>Microsoft Office PowerPoint</Application>
  <PresentationFormat>Breitbild</PresentationFormat>
  <Paragraphs>333</Paragraphs>
  <Slides>30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8" baseType="lpstr">
      <vt:lpstr>Soleil Sb</vt:lpstr>
      <vt:lpstr>Calibri</vt:lpstr>
      <vt:lpstr>Soleil Lt</vt:lpstr>
      <vt:lpstr>Arial</vt:lpstr>
      <vt:lpstr>Freestyle Script</vt:lpstr>
      <vt:lpstr>Brush Script MT</vt:lpstr>
      <vt:lpstr>PVA 2023</vt:lpstr>
      <vt:lpstr>think-cell Folie</vt:lpstr>
      <vt:lpstr>Ihr Partner für soziale Sicherheit</vt:lpstr>
      <vt:lpstr>Zahlen, Daten, Fakten</vt:lpstr>
      <vt:lpstr>Leistungsübersicht</vt:lpstr>
      <vt:lpstr>Serviceleistungen vor Pensionsbezug</vt:lpstr>
      <vt:lpstr>Erreichbarkeit der PV</vt:lpstr>
      <vt:lpstr>Versicherungszeiten APG ab 01.01.2005</vt:lpstr>
      <vt:lpstr>Kindererziehungszeit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eststellung Schwerarbeitszeiten</vt:lpstr>
      <vt:lpstr>PowerPoint-Präsentation</vt:lpstr>
      <vt:lpstr>Entstehung von Ansprüchen</vt:lpstr>
      <vt:lpstr>Versicherungsfall…</vt:lpstr>
      <vt:lpstr>Leistungen aus dem VF der geminderten Arbeitsfähigkeit</vt:lpstr>
      <vt:lpstr>Leistungen aus dem VF der geminderten Arbeitsfähigkeit</vt:lpstr>
      <vt:lpstr>Leistungen aus dem VF des Todes</vt:lpstr>
      <vt:lpstr>Leistungen aus dem VF des Alters</vt:lpstr>
      <vt:lpstr>Anpruchsvoraussetzungen</vt:lpstr>
      <vt:lpstr>Zuverdienstgrenzen</vt:lpstr>
      <vt:lpstr>Pensionskonto</vt:lpstr>
      <vt:lpstr>Pensionssplitting</vt:lpstr>
      <vt:lpstr>Selbst-/Weiterversicherungen…</vt:lpstr>
      <vt:lpstr>Ausgleichszulage</vt:lpstr>
      <vt:lpstr>Teilpension</vt:lpstr>
      <vt:lpstr>Korridorpension </vt:lpstr>
      <vt:lpstr>Alterspension</vt:lpstr>
      <vt:lpstr>PowerPoint-Präsentation</vt:lpstr>
    </vt:vector>
  </TitlesOfParts>
  <Company>PV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rusch-Batruel Katharina, Mag. (FH)</dc:creator>
  <cp:lastModifiedBy>Landarbeiterkammer Steiermark</cp:lastModifiedBy>
  <cp:revision>226</cp:revision>
  <dcterms:created xsi:type="dcterms:W3CDTF">2024-12-05T14:29:50Z</dcterms:created>
  <dcterms:modified xsi:type="dcterms:W3CDTF">2026-04-22T10:14:34Z</dcterms:modified>
</cp:coreProperties>
</file>